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3918" r:id="rId6"/>
    <p:sldMasterId id="2147483936" r:id="rId7"/>
  </p:sldMasterIdLst>
  <p:notesMasterIdLst>
    <p:notesMasterId r:id="rId12"/>
  </p:notesMasterIdLst>
  <p:handoutMasterIdLst>
    <p:handoutMasterId r:id="rId13"/>
  </p:handoutMasterIdLst>
  <p:sldIdLst>
    <p:sldId id="2147481183" r:id="rId8"/>
    <p:sldId id="2147481194" r:id="rId9"/>
    <p:sldId id="2147481191" r:id="rId10"/>
    <p:sldId id="2147481192" r:id="rId11"/>
  </p:sldIdLst>
  <p:sldSz cx="12192000" cy="6858000"/>
  <p:notesSz cx="6724650" cy="97742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sumen ejecutivo" id="{E83D915D-4036-4935-8962-D1B1C7C14746}">
          <p14:sldIdLst>
            <p14:sldId id="2147481183"/>
            <p14:sldId id="2147481194"/>
            <p14:sldId id="2147481191"/>
            <p14:sldId id="214748119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JOSE QUIROS GARCIA" initials="JQG" lastIdx="2" clrIdx="2">
    <p:extLst>
      <p:ext uri="{19B8F6BF-5375-455C-9EA6-DF929625EA0E}">
        <p15:presenceInfo xmlns:p15="http://schemas.microsoft.com/office/powerpoint/2012/main" userId="S::E701608@edpenergia.es::0c6a67b0-b2ed-4cb1-b150-cf96fce5dd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94B8"/>
    <a:srgbClr val="53729B"/>
    <a:srgbClr val="212E3E"/>
    <a:srgbClr val="00DD2B"/>
    <a:srgbClr val="7D6BFF"/>
    <a:srgbClr val="BBC9DB"/>
    <a:srgbClr val="FFFFFF"/>
    <a:srgbClr val="D9D9D9"/>
    <a:srgbClr val="2F4259"/>
    <a:srgbClr val="9AB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7" autoAdjust="0"/>
  </p:normalViewPr>
  <p:slideViewPr>
    <p:cSldViewPr snapToGrid="0">
      <p:cViewPr varScale="1">
        <p:scale>
          <a:sx n="55" d="100"/>
          <a:sy n="55" d="100"/>
        </p:scale>
        <p:origin x="1072" y="2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ONIO GONZALEZ DIEGO" userId="9e3ba8cd-487e-453e-9537-68380e9c2547" providerId="ADAL" clId="{42730CD2-2F92-48CF-BA6D-AF23342FF9E9}"/>
    <pc:docChg chg="undo custSel delSld modSld modSection">
      <pc:chgData name="ANTONIO GONZALEZ DIEGO" userId="9e3ba8cd-487e-453e-9537-68380e9c2547" providerId="ADAL" clId="{42730CD2-2F92-48CF-BA6D-AF23342FF9E9}" dt="2025-08-19T08:32:47.570" v="837" actId="20577"/>
      <pc:docMkLst>
        <pc:docMk/>
      </pc:docMkLst>
      <pc:sldChg chg="del">
        <pc:chgData name="ANTONIO GONZALEZ DIEGO" userId="9e3ba8cd-487e-453e-9537-68380e9c2547" providerId="ADAL" clId="{42730CD2-2F92-48CF-BA6D-AF23342FF9E9}" dt="2025-08-19T08:10:41.190" v="0" actId="2696"/>
        <pc:sldMkLst>
          <pc:docMk/>
          <pc:sldMk cId="3888473500" sldId="273"/>
        </pc:sldMkLst>
      </pc:sldChg>
      <pc:sldChg chg="modSp mod">
        <pc:chgData name="ANTONIO GONZALEZ DIEGO" userId="9e3ba8cd-487e-453e-9537-68380e9c2547" providerId="ADAL" clId="{42730CD2-2F92-48CF-BA6D-AF23342FF9E9}" dt="2025-08-19T08:16:35.457" v="439" actId="20577"/>
        <pc:sldMkLst>
          <pc:docMk/>
          <pc:sldMk cId="1188899272" sldId="2147481183"/>
        </pc:sldMkLst>
        <pc:spChg chg="mod">
          <ac:chgData name="ANTONIO GONZALEZ DIEGO" userId="9e3ba8cd-487e-453e-9537-68380e9c2547" providerId="ADAL" clId="{42730CD2-2F92-48CF-BA6D-AF23342FF9E9}" dt="2025-08-19T08:16:35.457" v="439" actId="20577"/>
          <ac:spMkLst>
            <pc:docMk/>
            <pc:sldMk cId="1188899272" sldId="2147481183"/>
            <ac:spMk id="13" creationId="{A956E2BB-39BB-E6B1-240F-E223163E154B}"/>
          </ac:spMkLst>
        </pc:spChg>
      </pc:sldChg>
      <pc:sldChg chg="addSp delSp modSp mod">
        <pc:chgData name="ANTONIO GONZALEZ DIEGO" userId="9e3ba8cd-487e-453e-9537-68380e9c2547" providerId="ADAL" clId="{42730CD2-2F92-48CF-BA6D-AF23342FF9E9}" dt="2025-08-19T08:28:48.866" v="696" actId="20577"/>
        <pc:sldMkLst>
          <pc:docMk/>
          <pc:sldMk cId="4092500968" sldId="2147481191"/>
        </pc:sldMkLst>
        <pc:spChg chg="mod">
          <ac:chgData name="ANTONIO GONZALEZ DIEGO" userId="9e3ba8cd-487e-453e-9537-68380e9c2547" providerId="ADAL" clId="{42730CD2-2F92-48CF-BA6D-AF23342FF9E9}" dt="2025-08-19T08:28:18.361" v="687" actId="20577"/>
          <ac:spMkLst>
            <pc:docMk/>
            <pc:sldMk cId="4092500968" sldId="2147481191"/>
            <ac:spMk id="8" creationId="{111E2272-5590-B877-D630-429B7A8BA54C}"/>
          </ac:spMkLst>
        </pc:spChg>
        <pc:spChg chg="mod">
          <ac:chgData name="ANTONIO GONZALEZ DIEGO" userId="9e3ba8cd-487e-453e-9537-68380e9c2547" providerId="ADAL" clId="{42730CD2-2F92-48CF-BA6D-AF23342FF9E9}" dt="2025-08-19T08:28:48.866" v="696" actId="20577"/>
          <ac:spMkLst>
            <pc:docMk/>
            <pc:sldMk cId="4092500968" sldId="2147481191"/>
            <ac:spMk id="29" creationId="{4937D89E-C9A6-C701-1076-26D1DD0A2D5F}"/>
          </ac:spMkLst>
        </pc:spChg>
        <pc:spChg chg="mod">
          <ac:chgData name="ANTONIO GONZALEZ DIEGO" userId="9e3ba8cd-487e-453e-9537-68380e9c2547" providerId="ADAL" clId="{42730CD2-2F92-48CF-BA6D-AF23342FF9E9}" dt="2025-08-19T08:25:04.654" v="582" actId="20577"/>
          <ac:spMkLst>
            <pc:docMk/>
            <pc:sldMk cId="4092500968" sldId="2147481191"/>
            <ac:spMk id="48" creationId="{285CC989-0779-DEE9-1BDE-36DA33A4344F}"/>
          </ac:spMkLst>
        </pc:spChg>
        <pc:spChg chg="add mod">
          <ac:chgData name="ANTONIO GONZALEZ DIEGO" userId="9e3ba8cd-487e-453e-9537-68380e9c2547" providerId="ADAL" clId="{42730CD2-2F92-48CF-BA6D-AF23342FF9E9}" dt="2025-08-19T08:21:39.900" v="497"/>
          <ac:spMkLst>
            <pc:docMk/>
            <pc:sldMk cId="4092500968" sldId="2147481191"/>
            <ac:spMk id="50" creationId="{B1295BDC-3FA0-34C0-BE36-04DF41269562}"/>
          </ac:spMkLst>
        </pc:spChg>
        <pc:spChg chg="add mod">
          <ac:chgData name="ANTONIO GONZALEZ DIEGO" userId="9e3ba8cd-487e-453e-9537-68380e9c2547" providerId="ADAL" clId="{42730CD2-2F92-48CF-BA6D-AF23342FF9E9}" dt="2025-08-19T08:21:39.900" v="497"/>
          <ac:spMkLst>
            <pc:docMk/>
            <pc:sldMk cId="4092500968" sldId="2147481191"/>
            <ac:spMk id="51" creationId="{32162D3E-54A3-4D90-EF7B-854007933B95}"/>
          </ac:spMkLst>
        </pc:spChg>
        <pc:spChg chg="add mod">
          <ac:chgData name="ANTONIO GONZALEZ DIEGO" userId="9e3ba8cd-487e-453e-9537-68380e9c2547" providerId="ADAL" clId="{42730CD2-2F92-48CF-BA6D-AF23342FF9E9}" dt="2025-08-19T08:22:01.942" v="499"/>
          <ac:spMkLst>
            <pc:docMk/>
            <pc:sldMk cId="4092500968" sldId="2147481191"/>
            <ac:spMk id="52" creationId="{C161E3E4-FFF5-6E81-9A1E-09EEEE4291A3}"/>
          </ac:spMkLst>
        </pc:spChg>
        <pc:spChg chg="add mod">
          <ac:chgData name="ANTONIO GONZALEZ DIEGO" userId="9e3ba8cd-487e-453e-9537-68380e9c2547" providerId="ADAL" clId="{42730CD2-2F92-48CF-BA6D-AF23342FF9E9}" dt="2025-08-19T08:22:01.942" v="499"/>
          <ac:spMkLst>
            <pc:docMk/>
            <pc:sldMk cId="4092500968" sldId="2147481191"/>
            <ac:spMk id="53" creationId="{95716353-22F2-BAE0-52DC-BE50B846A96E}"/>
          </ac:spMkLst>
        </pc:spChg>
        <pc:spChg chg="add mod">
          <ac:chgData name="ANTONIO GONZALEZ DIEGO" userId="9e3ba8cd-487e-453e-9537-68380e9c2547" providerId="ADAL" clId="{42730CD2-2F92-48CF-BA6D-AF23342FF9E9}" dt="2025-08-19T08:22:01.942" v="499"/>
          <ac:spMkLst>
            <pc:docMk/>
            <pc:sldMk cId="4092500968" sldId="2147481191"/>
            <ac:spMk id="54" creationId="{13FE6077-33D6-89C5-F1A2-B706AE16C105}"/>
          </ac:spMkLst>
        </pc:spChg>
        <pc:spChg chg="add mod">
          <ac:chgData name="ANTONIO GONZALEZ DIEGO" userId="9e3ba8cd-487e-453e-9537-68380e9c2547" providerId="ADAL" clId="{42730CD2-2F92-48CF-BA6D-AF23342FF9E9}" dt="2025-08-19T08:22:01.942" v="499"/>
          <ac:spMkLst>
            <pc:docMk/>
            <pc:sldMk cId="4092500968" sldId="2147481191"/>
            <ac:spMk id="55" creationId="{75E79B47-7507-55A9-35AC-B3363A8B42ED}"/>
          </ac:spMkLst>
        </pc:spChg>
        <pc:spChg chg="add mod">
          <ac:chgData name="ANTONIO GONZALEZ DIEGO" userId="9e3ba8cd-487e-453e-9537-68380e9c2547" providerId="ADAL" clId="{42730CD2-2F92-48CF-BA6D-AF23342FF9E9}" dt="2025-08-19T08:26:56.041" v="668" actId="20577"/>
          <ac:spMkLst>
            <pc:docMk/>
            <pc:sldMk cId="4092500968" sldId="2147481191"/>
            <ac:spMk id="56" creationId="{5AA26B25-A2DE-2807-B764-CF35D88EDEBE}"/>
          </ac:spMkLst>
        </pc:spChg>
        <pc:spChg chg="add mod">
          <ac:chgData name="ANTONIO GONZALEZ DIEGO" userId="9e3ba8cd-487e-453e-9537-68380e9c2547" providerId="ADAL" clId="{42730CD2-2F92-48CF-BA6D-AF23342FF9E9}" dt="2025-08-19T08:26:38.044" v="651" actId="1076"/>
          <ac:spMkLst>
            <pc:docMk/>
            <pc:sldMk cId="4092500968" sldId="2147481191"/>
            <ac:spMk id="57" creationId="{1CA25B0E-0A85-F64D-8CFC-1BC9E9792C18}"/>
          </ac:spMkLst>
        </pc:spChg>
        <pc:picChg chg="mod">
          <ac:chgData name="ANTONIO GONZALEZ DIEGO" userId="9e3ba8cd-487e-453e-9537-68380e9c2547" providerId="ADAL" clId="{42730CD2-2F92-48CF-BA6D-AF23342FF9E9}" dt="2025-08-19T08:26:29.038" v="648" actId="1076"/>
          <ac:picMkLst>
            <pc:docMk/>
            <pc:sldMk cId="4092500968" sldId="2147481191"/>
            <ac:picMk id="2050" creationId="{FD44ABDE-2C32-FD97-0897-171FD4C74BB2}"/>
          </ac:picMkLst>
        </pc:picChg>
        <pc:picChg chg="mod">
          <ac:chgData name="ANTONIO GONZALEZ DIEGO" userId="9e3ba8cd-487e-453e-9537-68380e9c2547" providerId="ADAL" clId="{42730CD2-2F92-48CF-BA6D-AF23342FF9E9}" dt="2025-08-19T08:26:33.543" v="650" actId="1076"/>
          <ac:picMkLst>
            <pc:docMk/>
            <pc:sldMk cId="4092500968" sldId="2147481191"/>
            <ac:picMk id="2052" creationId="{66293F6F-D07E-D090-4F8A-60921E938B64}"/>
          </ac:picMkLst>
        </pc:picChg>
      </pc:sldChg>
      <pc:sldChg chg="addSp delSp modSp mod">
        <pc:chgData name="ANTONIO GONZALEZ DIEGO" userId="9e3ba8cd-487e-453e-9537-68380e9c2547" providerId="ADAL" clId="{42730CD2-2F92-48CF-BA6D-AF23342FF9E9}" dt="2025-08-19T08:27:54.006" v="674"/>
        <pc:sldMkLst>
          <pc:docMk/>
          <pc:sldMk cId="3821010234" sldId="2147481192"/>
        </pc:sldMkLst>
        <pc:spChg chg="add mod">
          <ac:chgData name="ANTONIO GONZALEZ DIEGO" userId="9e3ba8cd-487e-453e-9537-68380e9c2547" providerId="ADAL" clId="{42730CD2-2F92-48CF-BA6D-AF23342FF9E9}" dt="2025-08-19T08:27:41.873" v="672"/>
          <ac:spMkLst>
            <pc:docMk/>
            <pc:sldMk cId="3821010234" sldId="2147481192"/>
            <ac:spMk id="4" creationId="{4E471CCC-DB45-C929-40AD-CDE59269B19A}"/>
          </ac:spMkLst>
        </pc:spChg>
        <pc:spChg chg="add mod">
          <ac:chgData name="ANTONIO GONZALEZ DIEGO" userId="9e3ba8cd-487e-453e-9537-68380e9c2547" providerId="ADAL" clId="{42730CD2-2F92-48CF-BA6D-AF23342FF9E9}" dt="2025-08-19T08:27:41.873" v="672"/>
          <ac:spMkLst>
            <pc:docMk/>
            <pc:sldMk cId="3821010234" sldId="2147481192"/>
            <ac:spMk id="6" creationId="{54931DD1-B053-228C-2285-716960EFD752}"/>
          </ac:spMkLst>
        </pc:spChg>
        <pc:spChg chg="add mod">
          <ac:chgData name="ANTONIO GONZALEZ DIEGO" userId="9e3ba8cd-487e-453e-9537-68380e9c2547" providerId="ADAL" clId="{42730CD2-2F92-48CF-BA6D-AF23342FF9E9}" dt="2025-08-19T08:27:54.006" v="674"/>
          <ac:spMkLst>
            <pc:docMk/>
            <pc:sldMk cId="3821010234" sldId="2147481192"/>
            <ac:spMk id="7" creationId="{ECE0DDBD-03E0-3717-B027-D41FB0ECCEED}"/>
          </ac:spMkLst>
        </pc:spChg>
        <pc:spChg chg="add mod">
          <ac:chgData name="ANTONIO GONZALEZ DIEGO" userId="9e3ba8cd-487e-453e-9537-68380e9c2547" providerId="ADAL" clId="{42730CD2-2F92-48CF-BA6D-AF23342FF9E9}" dt="2025-08-19T08:27:54.006" v="674"/>
          <ac:spMkLst>
            <pc:docMk/>
            <pc:sldMk cId="3821010234" sldId="2147481192"/>
            <ac:spMk id="8" creationId="{683755F9-C250-2296-E001-B390126588A7}"/>
          </ac:spMkLst>
        </pc:spChg>
        <pc:spChg chg="add mod">
          <ac:chgData name="ANTONIO GONZALEZ DIEGO" userId="9e3ba8cd-487e-453e-9537-68380e9c2547" providerId="ADAL" clId="{42730CD2-2F92-48CF-BA6D-AF23342FF9E9}" dt="2025-08-19T08:27:54.006" v="674"/>
          <ac:spMkLst>
            <pc:docMk/>
            <pc:sldMk cId="3821010234" sldId="2147481192"/>
            <ac:spMk id="9" creationId="{2915CDC5-82D7-8E94-6C11-1C460CE13E53}"/>
          </ac:spMkLst>
        </pc:spChg>
        <pc:spChg chg="add mod">
          <ac:chgData name="ANTONIO GONZALEZ DIEGO" userId="9e3ba8cd-487e-453e-9537-68380e9c2547" providerId="ADAL" clId="{42730CD2-2F92-48CF-BA6D-AF23342FF9E9}" dt="2025-08-19T08:27:54.006" v="674"/>
          <ac:spMkLst>
            <pc:docMk/>
            <pc:sldMk cId="3821010234" sldId="2147481192"/>
            <ac:spMk id="13" creationId="{859B9EE4-F134-9A26-7FAA-8A2F852CF701}"/>
          </ac:spMkLst>
        </pc:spChg>
      </pc:sldChg>
      <pc:sldChg chg="addSp delSp modSp mod">
        <pc:chgData name="ANTONIO GONZALEZ DIEGO" userId="9e3ba8cd-487e-453e-9537-68380e9c2547" providerId="ADAL" clId="{42730CD2-2F92-48CF-BA6D-AF23342FF9E9}" dt="2025-08-19T08:32:47.570" v="837" actId="20577"/>
        <pc:sldMkLst>
          <pc:docMk/>
          <pc:sldMk cId="3013457493" sldId="2147481194"/>
        </pc:sldMkLst>
        <pc:spChg chg="mod">
          <ac:chgData name="ANTONIO GONZALEZ DIEGO" userId="9e3ba8cd-487e-453e-9537-68380e9c2547" providerId="ADAL" clId="{42730CD2-2F92-48CF-BA6D-AF23342FF9E9}" dt="2025-08-19T08:21:08.213" v="493" actId="1076"/>
          <ac:spMkLst>
            <pc:docMk/>
            <pc:sldMk cId="3013457493" sldId="2147481194"/>
            <ac:spMk id="3" creationId="{209922CC-17BF-8543-48EF-A18020AB0E08}"/>
          </ac:spMkLst>
        </pc:spChg>
        <pc:spChg chg="mod">
          <ac:chgData name="ANTONIO GONZALEZ DIEGO" userId="9e3ba8cd-487e-453e-9537-68380e9c2547" providerId="ADAL" clId="{42730CD2-2F92-48CF-BA6D-AF23342FF9E9}" dt="2025-08-19T08:21:08.213" v="493" actId="1076"/>
          <ac:spMkLst>
            <pc:docMk/>
            <pc:sldMk cId="3013457493" sldId="2147481194"/>
            <ac:spMk id="8" creationId="{3061EFF0-28A4-EDA7-2672-C446B385B776}"/>
          </ac:spMkLst>
        </pc:spChg>
        <pc:spChg chg="mod">
          <ac:chgData name="ANTONIO GONZALEZ DIEGO" userId="9e3ba8cd-487e-453e-9537-68380e9c2547" providerId="ADAL" clId="{42730CD2-2F92-48CF-BA6D-AF23342FF9E9}" dt="2025-08-19T08:21:07.682" v="492" actId="20577"/>
          <ac:spMkLst>
            <pc:docMk/>
            <pc:sldMk cId="3013457493" sldId="2147481194"/>
            <ac:spMk id="9" creationId="{AFC3E2EC-7213-1E20-F0DB-A753A8158767}"/>
          </ac:spMkLst>
        </pc:spChg>
        <pc:spChg chg="add mod">
          <ac:chgData name="ANTONIO GONZALEZ DIEGO" userId="9e3ba8cd-487e-453e-9537-68380e9c2547" providerId="ADAL" clId="{42730CD2-2F92-48CF-BA6D-AF23342FF9E9}" dt="2025-08-19T08:17:20.299" v="444" actId="20577"/>
          <ac:spMkLst>
            <pc:docMk/>
            <pc:sldMk cId="3013457493" sldId="2147481194"/>
            <ac:spMk id="10" creationId="{781FFB18-F35E-6E9E-71CE-3BF9B79D7F04}"/>
          </ac:spMkLst>
        </pc:spChg>
        <pc:spChg chg="mod">
          <ac:chgData name="ANTONIO GONZALEZ DIEGO" userId="9e3ba8cd-487e-453e-9537-68380e9c2547" providerId="ADAL" clId="{42730CD2-2F92-48CF-BA6D-AF23342FF9E9}" dt="2025-08-19T08:20:01.144" v="464" actId="1076"/>
          <ac:spMkLst>
            <pc:docMk/>
            <pc:sldMk cId="3013457493" sldId="2147481194"/>
            <ac:spMk id="11" creationId="{604D2E51-4AC3-283B-1031-4BC560EAE832}"/>
          </ac:spMkLst>
        </pc:spChg>
        <pc:spChg chg="mod">
          <ac:chgData name="ANTONIO GONZALEZ DIEGO" userId="9e3ba8cd-487e-453e-9537-68380e9c2547" providerId="ADAL" clId="{42730CD2-2F92-48CF-BA6D-AF23342FF9E9}" dt="2025-08-19T08:14:10.812" v="338" actId="20577"/>
          <ac:spMkLst>
            <pc:docMk/>
            <pc:sldMk cId="3013457493" sldId="2147481194"/>
            <ac:spMk id="21" creationId="{340E6088-FF10-3BEA-D38F-ACE16708EFB4}"/>
          </ac:spMkLst>
        </pc:spChg>
        <pc:spChg chg="mod">
          <ac:chgData name="ANTONIO GONZALEZ DIEGO" userId="9e3ba8cd-487e-453e-9537-68380e9c2547" providerId="ADAL" clId="{42730CD2-2F92-48CF-BA6D-AF23342FF9E9}" dt="2025-08-19T08:18:55.502" v="456" actId="12789"/>
          <ac:spMkLst>
            <pc:docMk/>
            <pc:sldMk cId="3013457493" sldId="2147481194"/>
            <ac:spMk id="75" creationId="{745FED31-2344-70D2-2F10-58ABD9A1CCD0}"/>
          </ac:spMkLst>
        </pc:spChg>
        <pc:spChg chg="mod">
          <ac:chgData name="ANTONIO GONZALEZ DIEGO" userId="9e3ba8cd-487e-453e-9537-68380e9c2547" providerId="ADAL" clId="{42730CD2-2F92-48CF-BA6D-AF23342FF9E9}" dt="2025-08-19T08:19:28.165" v="458" actId="1076"/>
          <ac:spMkLst>
            <pc:docMk/>
            <pc:sldMk cId="3013457493" sldId="2147481194"/>
            <ac:spMk id="76" creationId="{1CD896E8-4525-1BA2-C600-D3CC86D7C387}"/>
          </ac:spMkLst>
        </pc:spChg>
        <pc:spChg chg="mod">
          <ac:chgData name="ANTONIO GONZALEZ DIEGO" userId="9e3ba8cd-487e-453e-9537-68380e9c2547" providerId="ADAL" clId="{42730CD2-2F92-48CF-BA6D-AF23342FF9E9}" dt="2025-08-19T08:32:47.570" v="837" actId="20577"/>
          <ac:spMkLst>
            <pc:docMk/>
            <pc:sldMk cId="3013457493" sldId="2147481194"/>
            <ac:spMk id="108" creationId="{754CEC72-C89D-2CBF-16BD-9CD7FBFF692A}"/>
          </ac:spMkLst>
        </pc:spChg>
        <pc:spChg chg="mod">
          <ac:chgData name="ANTONIO GONZALEZ DIEGO" userId="9e3ba8cd-487e-453e-9537-68380e9c2547" providerId="ADAL" clId="{42730CD2-2F92-48CF-BA6D-AF23342FF9E9}" dt="2025-08-19T08:32:07.889" v="827" actId="255"/>
          <ac:spMkLst>
            <pc:docMk/>
            <pc:sldMk cId="3013457493" sldId="2147481194"/>
            <ac:spMk id="123" creationId="{46B6CED4-54C2-20E9-E71C-2987255A8D0B}"/>
          </ac:spMkLst>
        </pc:spChg>
        <pc:spChg chg="mod">
          <ac:chgData name="ANTONIO GONZALEZ DIEGO" userId="9e3ba8cd-487e-453e-9537-68380e9c2547" providerId="ADAL" clId="{42730CD2-2F92-48CF-BA6D-AF23342FF9E9}" dt="2025-08-19T08:15:18.248" v="352" actId="1076"/>
          <ac:spMkLst>
            <pc:docMk/>
            <pc:sldMk cId="3013457493" sldId="2147481194"/>
            <ac:spMk id="274" creationId="{D99A3243-C494-F0B1-8671-3E4676E025A5}"/>
          </ac:spMkLst>
        </pc:spChg>
      </pc:sldChg>
      <pc:sldMasterChg chg="delSldLayout">
        <pc:chgData name="ANTONIO GONZALEZ DIEGO" userId="9e3ba8cd-487e-453e-9537-68380e9c2547" providerId="ADAL" clId="{42730CD2-2F92-48CF-BA6D-AF23342FF9E9}" dt="2025-08-19T08:10:41.190" v="0" actId="2696"/>
        <pc:sldMasterMkLst>
          <pc:docMk/>
          <pc:sldMasterMk cId="2969229741" sldId="2147483648"/>
        </pc:sldMasterMkLst>
        <pc:sldLayoutChg chg="del">
          <pc:chgData name="ANTONIO GONZALEZ DIEGO" userId="9e3ba8cd-487e-453e-9537-68380e9c2547" providerId="ADAL" clId="{42730CD2-2F92-48CF-BA6D-AF23342FF9E9}" dt="2025-08-19T08:10:41.190" v="0" actId="2696"/>
          <pc:sldLayoutMkLst>
            <pc:docMk/>
            <pc:sldMasterMk cId="2969229741" sldId="2147483648"/>
            <pc:sldLayoutMk cId="2741533825" sldId="2147483952"/>
          </pc:sldLayoutMkLst>
        </pc:sldLayoutChg>
      </pc:sldMasterChg>
    </pc:docChg>
  </pc:docChgLst>
  <pc:docChgLst>
    <pc:chgData name="ANTONIO GONZALEZ DIEGO" userId="9e3ba8cd-487e-453e-9537-68380e9c2547" providerId="ADAL" clId="{86B35A54-97BF-4AEE-9983-34D474D96CC8}"/>
    <pc:docChg chg="custSel modSld">
      <pc:chgData name="ANTONIO GONZALEZ DIEGO" userId="9e3ba8cd-487e-453e-9537-68380e9c2547" providerId="ADAL" clId="{86B35A54-97BF-4AEE-9983-34D474D96CC8}" dt="2025-08-28T10:06:35.957" v="171" actId="20577"/>
      <pc:docMkLst>
        <pc:docMk/>
      </pc:docMkLst>
      <pc:sldChg chg="modSp mod">
        <pc:chgData name="ANTONIO GONZALEZ DIEGO" userId="9e3ba8cd-487e-453e-9537-68380e9c2547" providerId="ADAL" clId="{86B35A54-97BF-4AEE-9983-34D474D96CC8}" dt="2025-08-28T10:06:35.957" v="171" actId="20577"/>
        <pc:sldMkLst>
          <pc:docMk/>
          <pc:sldMk cId="1188899272" sldId="2147481183"/>
        </pc:sldMkLst>
        <pc:spChg chg="mod">
          <ac:chgData name="ANTONIO GONZALEZ DIEGO" userId="9e3ba8cd-487e-453e-9537-68380e9c2547" providerId="ADAL" clId="{86B35A54-97BF-4AEE-9983-34D474D96CC8}" dt="2025-08-28T10:06:35.957" v="171" actId="20577"/>
          <ac:spMkLst>
            <pc:docMk/>
            <pc:sldMk cId="1188899272" sldId="2147481183"/>
            <ac:spMk id="13" creationId="{A956E2BB-39BB-E6B1-240F-E223163E154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4416" cy="489208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8733" y="0"/>
            <a:ext cx="2914416" cy="489208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8 August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285031"/>
            <a:ext cx="2914416" cy="489208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8733" y="9285031"/>
            <a:ext cx="2914416" cy="489208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4015" cy="490409"/>
          </a:xfrm>
          <a:prstGeom prst="rect">
            <a:avLst/>
          </a:prstGeom>
        </p:spPr>
        <p:txBody>
          <a:bodyPr vert="horz" lIns="918606" tIns="47331" rIns="94662" bIns="47331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9080" y="0"/>
            <a:ext cx="2914015" cy="490409"/>
          </a:xfrm>
          <a:prstGeom prst="rect">
            <a:avLst/>
          </a:prstGeom>
        </p:spPr>
        <p:txBody>
          <a:bodyPr vert="horz" lIns="94662" tIns="47331" rIns="918606" bIns="47331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8 August 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1800" y="587375"/>
            <a:ext cx="5861050" cy="3297238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662" tIns="47331" rIns="94662" bIns="47331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283832"/>
            <a:ext cx="2914015" cy="490408"/>
          </a:xfrm>
          <a:prstGeom prst="rect">
            <a:avLst/>
          </a:prstGeom>
        </p:spPr>
        <p:txBody>
          <a:bodyPr vert="horz" lIns="918606" tIns="47331" rIns="94662" bIns="47331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9080" y="9283832"/>
            <a:ext cx="2914015" cy="490408"/>
          </a:xfrm>
          <a:prstGeom prst="rect">
            <a:avLst/>
          </a:prstGeom>
        </p:spPr>
        <p:txBody>
          <a:bodyPr vert="horz" lIns="94662" tIns="47331" rIns="918606" bIns="47331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95914" y="4703667"/>
            <a:ext cx="5332825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8 August 202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801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491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77334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26360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9.xml"/><Relationship Id="rId7" Type="http://schemas.openxmlformats.org/officeDocument/2006/relationships/image" Target="../media/image2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3.xml"/><Relationship Id="rId7" Type="http://schemas.openxmlformats.org/officeDocument/2006/relationships/image" Target="../media/image2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8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image" Target="../media/image9.png"/><Relationship Id="rId5" Type="http://schemas.openxmlformats.org/officeDocument/2006/relationships/tags" Target="../tags/tag123.xml"/><Relationship Id="rId10" Type="http://schemas.openxmlformats.org/officeDocument/2006/relationships/image" Target="../media/image1.emf"/><Relationship Id="rId4" Type="http://schemas.openxmlformats.org/officeDocument/2006/relationships/tags" Target="../tags/tag122.xml"/><Relationship Id="rId9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image" Target="../media/image9.png"/><Relationship Id="rId5" Type="http://schemas.openxmlformats.org/officeDocument/2006/relationships/tags" Target="../tags/tag130.xml"/><Relationship Id="rId10" Type="http://schemas.openxmlformats.org/officeDocument/2006/relationships/image" Target="../media/image1.emf"/><Relationship Id="rId4" Type="http://schemas.openxmlformats.org/officeDocument/2006/relationships/tags" Target="../tags/tag129.xml"/><Relationship Id="rId9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10" Type="http://schemas.openxmlformats.org/officeDocument/2006/relationships/image" Target="../media/image9.png"/><Relationship Id="rId4" Type="http://schemas.openxmlformats.org/officeDocument/2006/relationships/tags" Target="../tags/tag136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4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10" Type="http://schemas.openxmlformats.org/officeDocument/2006/relationships/image" Target="../media/image9.png"/><Relationship Id="rId4" Type="http://schemas.openxmlformats.org/officeDocument/2006/relationships/tags" Target="../tags/tag142.xml"/><Relationship Id="rId9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4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9.png"/><Relationship Id="rId4" Type="http://schemas.openxmlformats.org/officeDocument/2006/relationships/tags" Target="../tags/tag148.xml"/><Relationship Id="rId9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10" Type="http://schemas.openxmlformats.org/officeDocument/2006/relationships/image" Target="../media/image9.png"/><Relationship Id="rId4" Type="http://schemas.openxmlformats.org/officeDocument/2006/relationships/tags" Target="../tags/tag154.xml"/><Relationship Id="rId9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image" Target="../media/image9.png"/><Relationship Id="rId4" Type="http://schemas.openxmlformats.org/officeDocument/2006/relationships/tags" Target="../tags/tag160.xml"/><Relationship Id="rId9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10" Type="http://schemas.openxmlformats.org/officeDocument/2006/relationships/image" Target="../media/image9.png"/><Relationship Id="rId4" Type="http://schemas.openxmlformats.org/officeDocument/2006/relationships/tags" Target="../tags/tag166.xml"/><Relationship Id="rId9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7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7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4" Type="http://schemas.openxmlformats.org/officeDocument/2006/relationships/tags" Target="../tags/tag178.xml"/><Relationship Id="rId9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18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Relationship Id="rId9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18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4" Type="http://schemas.openxmlformats.org/officeDocument/2006/relationships/tags" Target="../tags/tag190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6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5.png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95.xml"/><Relationship Id="rId7" Type="http://schemas.openxmlformats.org/officeDocument/2006/relationships/image" Target="../media/image10.tif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7.xml"/><Relationship Id="rId4" Type="http://schemas.openxmlformats.org/officeDocument/2006/relationships/tags" Target="../tags/tag196.xml"/><Relationship Id="rId9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20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Relationship Id="rId9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20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Relationship Id="rId9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5" Type="http://schemas.openxmlformats.org/officeDocument/2006/relationships/tags" Target="../tags/tag214.xml"/><Relationship Id="rId10" Type="http://schemas.openxmlformats.org/officeDocument/2006/relationships/image" Target="../media/image2.emf"/><Relationship Id="rId4" Type="http://schemas.openxmlformats.org/officeDocument/2006/relationships/tags" Target="../tags/tag213.xml"/><Relationship Id="rId9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5" Type="http://schemas.openxmlformats.org/officeDocument/2006/relationships/tags" Target="../tags/tag221.xml"/><Relationship Id="rId10" Type="http://schemas.openxmlformats.org/officeDocument/2006/relationships/image" Target="../media/image2.emf"/><Relationship Id="rId4" Type="http://schemas.openxmlformats.org/officeDocument/2006/relationships/tags" Target="../tags/tag220.xml"/><Relationship Id="rId9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10" Type="http://schemas.openxmlformats.org/officeDocument/2006/relationships/image" Target="../media/image2.emf"/><Relationship Id="rId4" Type="http://schemas.openxmlformats.org/officeDocument/2006/relationships/tags" Target="../tags/tag227.xml"/><Relationship Id="rId9" Type="http://schemas.openxmlformats.org/officeDocument/2006/relationships/oleObject" Target="../embeddings/oleObject35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3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10" Type="http://schemas.openxmlformats.org/officeDocument/2006/relationships/image" Target="../media/image9.png"/><Relationship Id="rId4" Type="http://schemas.openxmlformats.org/officeDocument/2006/relationships/tags" Target="../tags/tag234.xml"/><Relationship Id="rId9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39.xml"/><Relationship Id="rId7" Type="http://schemas.openxmlformats.org/officeDocument/2006/relationships/image" Target="../media/image2.emf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5.png"/><Relationship Id="rId5" Type="http://schemas.openxmlformats.org/officeDocument/2006/relationships/tags" Target="../tags/tag43.xml"/><Relationship Id="rId10" Type="http://schemas.openxmlformats.org/officeDocument/2006/relationships/image" Target="../media/image1.emf"/><Relationship Id="rId4" Type="http://schemas.openxmlformats.org/officeDocument/2006/relationships/tags" Target="../tags/tag42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7.xml"/><Relationship Id="rId7" Type="http://schemas.openxmlformats.org/officeDocument/2006/relationships/oleObject" Target="../embeddings/oleObject40.bin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69.xml"/><Relationship Id="rId4" Type="http://schemas.openxmlformats.org/officeDocument/2006/relationships/tags" Target="../tags/tag268.xml"/><Relationship Id="rId9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272.xml"/><Relationship Id="rId7" Type="http://schemas.openxmlformats.org/officeDocument/2006/relationships/image" Target="../media/image4.png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74.xml"/><Relationship Id="rId4" Type="http://schemas.openxmlformats.org/officeDocument/2006/relationships/tags" Target="../tags/tag273.xml"/><Relationship Id="rId9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11" Type="http://schemas.openxmlformats.org/officeDocument/2006/relationships/image" Target="../media/image5.png"/><Relationship Id="rId5" Type="http://schemas.openxmlformats.org/officeDocument/2006/relationships/tags" Target="../tags/tag279.xml"/><Relationship Id="rId10" Type="http://schemas.openxmlformats.org/officeDocument/2006/relationships/image" Target="../media/image1.emf"/><Relationship Id="rId4" Type="http://schemas.openxmlformats.org/officeDocument/2006/relationships/tags" Target="../tags/tag278.xml"/><Relationship Id="rId9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11" Type="http://schemas.openxmlformats.org/officeDocument/2006/relationships/image" Target="../media/image5.png"/><Relationship Id="rId5" Type="http://schemas.openxmlformats.org/officeDocument/2006/relationships/tags" Target="../tags/tag286.xml"/><Relationship Id="rId10" Type="http://schemas.openxmlformats.org/officeDocument/2006/relationships/image" Target="../media/image1.emf"/><Relationship Id="rId4" Type="http://schemas.openxmlformats.org/officeDocument/2006/relationships/tags" Target="../tags/tag285.xml"/><Relationship Id="rId9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10" Type="http://schemas.openxmlformats.org/officeDocument/2006/relationships/image" Target="../media/image5.png"/><Relationship Id="rId4" Type="http://schemas.openxmlformats.org/officeDocument/2006/relationships/tags" Target="../tags/tag292.xml"/><Relationship Id="rId9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10" Type="http://schemas.openxmlformats.org/officeDocument/2006/relationships/image" Target="../media/image5.png"/><Relationship Id="rId4" Type="http://schemas.openxmlformats.org/officeDocument/2006/relationships/tags" Target="../tags/tag298.xml"/><Relationship Id="rId9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5" Type="http://schemas.openxmlformats.org/officeDocument/2006/relationships/tags" Target="../tags/tag305.xml"/><Relationship Id="rId10" Type="http://schemas.openxmlformats.org/officeDocument/2006/relationships/image" Target="../media/image5.png"/><Relationship Id="rId4" Type="http://schemas.openxmlformats.org/officeDocument/2006/relationships/tags" Target="../tags/tag304.xml"/><Relationship Id="rId9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09.xm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11" Type="http://schemas.openxmlformats.org/officeDocument/2006/relationships/image" Target="../media/image5.png"/><Relationship Id="rId5" Type="http://schemas.openxmlformats.org/officeDocument/2006/relationships/tags" Target="../tags/tag311.xml"/><Relationship Id="rId10" Type="http://schemas.openxmlformats.org/officeDocument/2006/relationships/image" Target="../media/image2.emf"/><Relationship Id="rId4" Type="http://schemas.openxmlformats.org/officeDocument/2006/relationships/tags" Target="../tags/tag310.xml"/><Relationship Id="rId9" Type="http://schemas.openxmlformats.org/officeDocument/2006/relationships/oleObject" Target="../embeddings/oleObject44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1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5" Type="http://schemas.openxmlformats.org/officeDocument/2006/relationships/tags" Target="../tags/tag318.xml"/><Relationship Id="rId10" Type="http://schemas.openxmlformats.org/officeDocument/2006/relationships/image" Target="../media/image5.png"/><Relationship Id="rId4" Type="http://schemas.openxmlformats.org/officeDocument/2006/relationships/tags" Target="../tags/tag317.xml"/><Relationship Id="rId9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22.xml"/><Relationship Id="rId7" Type="http://schemas.openxmlformats.org/officeDocument/2006/relationships/image" Target="../media/image2.emf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5.png"/><Relationship Id="rId4" Type="http://schemas.openxmlformats.org/officeDocument/2006/relationships/tags" Target="../tags/tag49.xml"/><Relationship Id="rId9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0.xml"/><Relationship Id="rId7" Type="http://schemas.openxmlformats.org/officeDocument/2006/relationships/oleObject" Target="../embeddings/oleObject30.bin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32.xml"/><Relationship Id="rId4" Type="http://schemas.openxmlformats.org/officeDocument/2006/relationships/tags" Target="../tags/tag331.xml"/><Relationship Id="rId9" Type="http://schemas.openxmlformats.org/officeDocument/2006/relationships/image" Target="../media/image10.tif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5.xml"/><Relationship Id="rId7" Type="http://schemas.openxmlformats.org/officeDocument/2006/relationships/oleObject" Target="../embeddings/oleObject2.bin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57.xml"/><Relationship Id="rId4" Type="http://schemas.openxmlformats.org/officeDocument/2006/relationships/tags" Target="../tags/tag356.xml"/><Relationship Id="rId9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60.xml"/><Relationship Id="rId7" Type="http://schemas.openxmlformats.org/officeDocument/2006/relationships/image" Target="../media/image4.png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62.xml"/><Relationship Id="rId4" Type="http://schemas.openxmlformats.org/officeDocument/2006/relationships/tags" Target="../tags/tag361.xml"/><Relationship Id="rId9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12" Type="http://schemas.openxmlformats.org/officeDocument/2006/relationships/image" Target="../media/image11.jpeg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image" Target="../media/image5.png"/><Relationship Id="rId5" Type="http://schemas.openxmlformats.org/officeDocument/2006/relationships/tags" Target="../tags/tag367.xml"/><Relationship Id="rId10" Type="http://schemas.openxmlformats.org/officeDocument/2006/relationships/image" Target="../media/image1.emf"/><Relationship Id="rId4" Type="http://schemas.openxmlformats.org/officeDocument/2006/relationships/tags" Target="../tags/tag366.xml"/><Relationship Id="rId9" Type="http://schemas.openxmlformats.org/officeDocument/2006/relationships/oleObject" Target="../embeddings/oleObject4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image" Target="../media/image11.jpeg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11" Type="http://schemas.openxmlformats.org/officeDocument/2006/relationships/image" Target="../media/image5.png"/><Relationship Id="rId5" Type="http://schemas.openxmlformats.org/officeDocument/2006/relationships/tags" Target="../tags/tag374.xml"/><Relationship Id="rId10" Type="http://schemas.openxmlformats.org/officeDocument/2006/relationships/image" Target="../media/image1.emf"/><Relationship Id="rId4" Type="http://schemas.openxmlformats.org/officeDocument/2006/relationships/tags" Target="../tags/tag373.xml"/><Relationship Id="rId9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7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11" Type="http://schemas.openxmlformats.org/officeDocument/2006/relationships/image" Target="../media/image11.jpeg"/><Relationship Id="rId5" Type="http://schemas.openxmlformats.org/officeDocument/2006/relationships/tags" Target="../tags/tag381.xml"/><Relationship Id="rId10" Type="http://schemas.openxmlformats.org/officeDocument/2006/relationships/image" Target="../media/image5.png"/><Relationship Id="rId4" Type="http://schemas.openxmlformats.org/officeDocument/2006/relationships/tags" Target="../tags/tag380.xml"/><Relationship Id="rId9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8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tags" Target="../tags/tag388.xml"/><Relationship Id="rId11" Type="http://schemas.openxmlformats.org/officeDocument/2006/relationships/image" Target="../media/image11.jpeg"/><Relationship Id="rId5" Type="http://schemas.openxmlformats.org/officeDocument/2006/relationships/tags" Target="../tags/tag387.xml"/><Relationship Id="rId10" Type="http://schemas.openxmlformats.org/officeDocument/2006/relationships/image" Target="../media/image5.png"/><Relationship Id="rId4" Type="http://schemas.openxmlformats.org/officeDocument/2006/relationships/tags" Target="../tags/tag386.xml"/><Relationship Id="rId9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tags" Target="../tags/tag394.xml"/><Relationship Id="rId11" Type="http://schemas.openxmlformats.org/officeDocument/2006/relationships/image" Target="../media/image11.jpeg"/><Relationship Id="rId5" Type="http://schemas.openxmlformats.org/officeDocument/2006/relationships/tags" Target="../tags/tag393.xml"/><Relationship Id="rId10" Type="http://schemas.openxmlformats.org/officeDocument/2006/relationships/image" Target="../media/image5.png"/><Relationship Id="rId4" Type="http://schemas.openxmlformats.org/officeDocument/2006/relationships/tags" Target="../tags/tag392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png"/><Relationship Id="rId4" Type="http://schemas.openxmlformats.org/officeDocument/2006/relationships/tags" Target="../tags/tag55.xml"/><Relationship Id="rId9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97.xml"/><Relationship Id="rId7" Type="http://schemas.openxmlformats.org/officeDocument/2006/relationships/tags" Target="../tags/tag401.xml"/><Relationship Id="rId12" Type="http://schemas.openxmlformats.org/officeDocument/2006/relationships/image" Target="../media/image11.jpeg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tags" Target="../tags/tag400.xml"/><Relationship Id="rId11" Type="http://schemas.openxmlformats.org/officeDocument/2006/relationships/image" Target="../media/image5.png"/><Relationship Id="rId5" Type="http://schemas.openxmlformats.org/officeDocument/2006/relationships/tags" Target="../tags/tag399.xml"/><Relationship Id="rId10" Type="http://schemas.openxmlformats.org/officeDocument/2006/relationships/image" Target="../media/image2.emf"/><Relationship Id="rId4" Type="http://schemas.openxmlformats.org/officeDocument/2006/relationships/tags" Target="../tags/tag398.xml"/><Relationship Id="rId9" Type="http://schemas.openxmlformats.org/officeDocument/2006/relationships/oleObject" Target="../embeddings/oleObject9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0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tags" Target="../tags/tag407.xml"/><Relationship Id="rId11" Type="http://schemas.openxmlformats.org/officeDocument/2006/relationships/image" Target="../media/image11.jpeg"/><Relationship Id="rId5" Type="http://schemas.openxmlformats.org/officeDocument/2006/relationships/tags" Target="../tags/tag406.xml"/><Relationship Id="rId10" Type="http://schemas.openxmlformats.org/officeDocument/2006/relationships/image" Target="../media/image5.png"/><Relationship Id="rId4" Type="http://schemas.openxmlformats.org/officeDocument/2006/relationships/tags" Target="../tags/tag405.xml"/><Relationship Id="rId9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0.xml"/><Relationship Id="rId7" Type="http://schemas.openxmlformats.org/officeDocument/2006/relationships/image" Target="../media/image2.emf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11.xml"/><Relationship Id="rId9" Type="http://schemas.openxmlformats.org/officeDocument/2006/relationships/image" Target="../media/image11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5.png"/><Relationship Id="rId4" Type="http://schemas.openxmlformats.org/officeDocument/2006/relationships/tags" Target="../tags/tag61.xml"/><Relationship Id="rId9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5.png"/><Relationship Id="rId5" Type="http://schemas.openxmlformats.org/officeDocument/2006/relationships/tags" Target="../tags/tag68.xml"/><Relationship Id="rId10" Type="http://schemas.openxmlformats.org/officeDocument/2006/relationships/image" Target="../media/image2.emf"/><Relationship Id="rId4" Type="http://schemas.openxmlformats.org/officeDocument/2006/relationships/tags" Target="../tags/tag67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image" Target="../media/image5.png"/><Relationship Id="rId4" Type="http://schemas.openxmlformats.org/officeDocument/2006/relationships/tags" Target="../tags/tag74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13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6125131"/>
            <a:ext cx="746263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5707522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739817"/>
            <a:ext cx="746175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DA3FD7D-5A75-704F-B50A-2B868CC157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01" y="563389"/>
            <a:ext cx="2446638" cy="122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592" imgH="591" progId="TCLayout.ActiveDocument.1">
                  <p:embed/>
                </p:oleObj>
              </mc:Choice>
              <mc:Fallback>
                <p:oleObj name="Diapositiva de think-cell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6D67745A-1BA5-CE46-AFEA-A30834E625B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966543-0D4D-2648-BE5D-584177FF0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629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966543-0D4D-2648-BE5D-584177FF0E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1618"/>
          <a:stretch/>
        </p:blipFill>
        <p:spPr>
          <a:xfrm>
            <a:off x="0" y="0"/>
            <a:ext cx="12192000" cy="53754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F28AC2-B00C-49EA-AEC5-6EC1CF68127F}"/>
              </a:ext>
            </a:extLst>
          </p:cNvPr>
          <p:cNvSpPr/>
          <p:nvPr userDrawn="1"/>
        </p:nvSpPr>
        <p:spPr>
          <a:xfrm>
            <a:off x="1" y="5375429"/>
            <a:ext cx="12192000" cy="148257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2058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0906383-34D1-1C47-A59C-D0CA5C64134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63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592" imgH="591" progId="TCLayout.ActiveDocument.1">
                  <p:embed/>
                </p:oleObj>
              </mc:Choice>
              <mc:Fallback>
                <p:oleObj name="Diapositiva de think-cell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4736" y="6125131"/>
            <a:ext cx="746175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2" y="5707523"/>
            <a:ext cx="746175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3739818"/>
            <a:ext cx="7461758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E0C2173-FA9E-1940-954E-EAF3BFD90CE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01" y="563390"/>
            <a:ext cx="2446638" cy="122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6861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rgbClr val="B4B4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E28BA26E-2619-4570-9424-AA293C9784CA}"/>
              </a:ext>
            </a:extLst>
          </p:cNvPr>
          <p:cNvSpPr txBox="1">
            <a:spLocks/>
          </p:cNvSpPr>
          <p:nvPr userDrawn="1"/>
        </p:nvSpPr>
        <p:spPr>
          <a:xfrm>
            <a:off x="903732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8D9D7-DB68-4C24-8943-898CEB116B8E}" type="slidenum">
              <a:rPr kumimoji="0" lang="es-E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200" b="0" i="1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02804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63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592" imgH="591" progId="TCLayout.ActiveDocument.1">
                  <p:embed/>
                </p:oleObj>
              </mc:Choice>
              <mc:Fallback>
                <p:oleObj name="Diapositiva de think-cell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4736" y="6125131"/>
            <a:ext cx="746175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2" y="5707522"/>
            <a:ext cx="746175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3739817"/>
            <a:ext cx="7461758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E0C2173-FA9E-1940-954E-EAF3BFD90CE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01" y="563389"/>
            <a:ext cx="2446638" cy="122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E6E79A25-A8D4-0241-8551-49E1C55E73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6691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ocumenttype">
            <a:extLst>
              <a:ext uri="{FF2B5EF4-FFF2-40B4-BE49-F238E27FC236}">
                <a16:creationId xmlns:a16="http://schemas.microsoft.com/office/drawing/2014/main" id="{680E0B46-A8BC-4CFF-812E-2AA480174E0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177823" y="6163231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9EA0A03B-AE09-4029-92D2-0B11D1B7EDEA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2" y="3554872"/>
            <a:ext cx="6477508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2AAEEB7-7BDA-4F0E-AC3D-F41A821C56C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1304138"/>
            <a:ext cx="647750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48546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70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B8717F9A-508A-FC49-AF5F-48143256631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59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ticker" hidden="1">
            <a:extLst>
              <a:ext uri="{FF2B5EF4-FFF2-40B4-BE49-F238E27FC236}">
                <a16:creationId xmlns:a16="http://schemas.microsoft.com/office/drawing/2014/main" id="{1BE78E90-512D-48A0-A845-A06C7B40AA52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01" name="3. Subtitle">
            <a:extLst>
              <a:ext uri="{FF2B5EF4-FFF2-40B4-BE49-F238E27FC236}">
                <a16:creationId xmlns:a16="http://schemas.microsoft.com/office/drawing/2014/main" id="{8AB5A759-C8C6-4E92-997D-BA04067A36C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1022441"/>
            <a:ext cx="984656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769441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F8D509C-5441-B244-A7C9-DEA120657F7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69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FA1E6FC8-EB07-F340-A277-D8A80208E4C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177823" y="6163231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3554872"/>
            <a:ext cx="6477508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304138"/>
            <a:ext cx="647750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46645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4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C4DF8BDA-1918-6141-B858-DE2F235CA9C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Top 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063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B7D29F4F-8965-254F-BCA3-0820AC567CE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8430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030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5065776" cy="384721"/>
          </a:xfrm>
          <a:prstGeom prst="rect">
            <a:avLst/>
          </a:prstGeom>
        </p:spPr>
        <p:txBody>
          <a:bodyPr vert="horz" rIns="365760" anchor="t" anchorCtr="0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99B0F0C-5D08-9248-B37D-8BBDCB91541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592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5065776" cy="384721"/>
          </a:xfrm>
          <a:prstGeom prst="rect">
            <a:avLst/>
          </a:prstGeom>
        </p:spPr>
        <p:txBody>
          <a:bodyPr vert="horz" rIns="365760" anchor="t" anchorCtr="0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15A151C-10C0-0E49-A5B9-05600EFBFCF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8266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rast Mid 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02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5065776" cy="384721"/>
          </a:xfrm>
          <a:prstGeom prst="rect">
            <a:avLst/>
          </a:prstGeom>
        </p:spPr>
        <p:txBody>
          <a:bodyPr vert="horz" rIns="365760" anchor="t" anchorCtr="0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88258F8E-9087-114B-BD5F-922790E68B8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6557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rast Mid Lef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36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5065776" cy="384721"/>
          </a:xfrm>
          <a:prstGeom prst="rect">
            <a:avLst/>
          </a:prstGeom>
        </p:spPr>
        <p:txBody>
          <a:bodyPr vert="horz" rIns="365760" anchor="t" anchorCtr="0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99DB33B-6E2D-A245-AFE3-BD2C160FE5F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7637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rast Mid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429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36060" y="4572762"/>
            <a:ext cx="7055739" cy="615553"/>
          </a:xfrm>
          <a:prstGeom prst="rect">
            <a:avLst/>
          </a:prstGeom>
        </p:spPr>
        <p:txBody>
          <a:bodyPr vert="horz" wrap="square" rIns="365760" anchor="t" anchorCtr="0">
            <a:spAutoFit/>
          </a:bodyPr>
          <a:lstStyle>
            <a:lvl1pPr rtl="0">
              <a:defRPr sz="4000" b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DABEE8-D265-41CF-B798-6E9D756270CC}"/>
              </a:ext>
            </a:extLst>
          </p:cNvPr>
          <p:cNvSpPr/>
          <p:nvPr userDrawn="1"/>
        </p:nvSpPr>
        <p:spPr>
          <a:xfrm>
            <a:off x="0" y="0"/>
            <a:ext cx="3179763" cy="6858000"/>
          </a:xfrm>
          <a:prstGeom prst="rect">
            <a:avLst/>
          </a:prstGeom>
          <a:solidFill>
            <a:srgbClr val="212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="0" i="0">
              <a:latin typeface="FT Base Book" pitchFamily="2" charset="77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219424" y="-333375"/>
            <a:ext cx="2740915" cy="255454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algn="ctr" rtl="0">
              <a:defRPr lang="en-US" sz="16600" b="0" dirty="0">
                <a:solidFill>
                  <a:schemeClr val="accent5"/>
                </a:solidFill>
                <a:cs typeface="+mn-cs"/>
              </a:defRPr>
            </a:lvl1pPr>
          </a:lstStyle>
          <a:p>
            <a:pPr lvl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438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rast Mid Left">
    <p:bg>
      <p:bgPr>
        <a:solidFill>
          <a:srgbClr val="6D3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748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36060" y="4572762"/>
            <a:ext cx="7055739" cy="615553"/>
          </a:xfrm>
          <a:prstGeom prst="rect">
            <a:avLst/>
          </a:prstGeom>
        </p:spPr>
        <p:txBody>
          <a:bodyPr vert="horz" wrap="square" rIns="365760" anchor="t" anchorCtr="0">
            <a:spAutoFit/>
          </a:bodyPr>
          <a:lstStyle>
            <a:lvl1pPr rtl="0">
              <a:defRPr sz="4000" b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DABEE8-D265-41CF-B798-6E9D756270CC}"/>
              </a:ext>
            </a:extLst>
          </p:cNvPr>
          <p:cNvSpPr/>
          <p:nvPr userDrawn="1"/>
        </p:nvSpPr>
        <p:spPr>
          <a:xfrm>
            <a:off x="0" y="0"/>
            <a:ext cx="3179763" cy="6858000"/>
          </a:xfrm>
          <a:prstGeom prst="rect">
            <a:avLst/>
          </a:prstGeom>
          <a:solidFill>
            <a:srgbClr val="212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="0" i="0">
              <a:latin typeface="FT Base Book" pitchFamily="2" charset="77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219424" y="-333375"/>
            <a:ext cx="2740915" cy="255454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algn="ctr" rtl="0">
              <a:defRPr lang="en-US" sz="16600" b="0" dirty="0">
                <a:solidFill>
                  <a:srgbClr val="6D32FF"/>
                </a:solidFill>
                <a:cs typeface="+mn-cs"/>
              </a:defRPr>
            </a:lvl1pPr>
          </a:lstStyle>
          <a:p>
            <a:pPr lvl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3208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rast Mid Left">
    <p:bg>
      <p:bgPr>
        <a:solidFill>
          <a:srgbClr val="0CD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508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36060" y="4572762"/>
            <a:ext cx="7055739" cy="615553"/>
          </a:xfrm>
          <a:prstGeom prst="rect">
            <a:avLst/>
          </a:prstGeom>
        </p:spPr>
        <p:txBody>
          <a:bodyPr vert="horz" wrap="square" rIns="365760" anchor="t" anchorCtr="0">
            <a:spAutoFit/>
          </a:bodyPr>
          <a:lstStyle>
            <a:lvl1pPr rtl="0">
              <a:defRPr sz="4000" b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DABEE8-D265-41CF-B798-6E9D756270CC}"/>
              </a:ext>
            </a:extLst>
          </p:cNvPr>
          <p:cNvSpPr/>
          <p:nvPr userDrawn="1"/>
        </p:nvSpPr>
        <p:spPr>
          <a:xfrm>
            <a:off x="0" y="0"/>
            <a:ext cx="3179763" cy="6858000"/>
          </a:xfrm>
          <a:prstGeom prst="rect">
            <a:avLst/>
          </a:prstGeom>
          <a:solidFill>
            <a:srgbClr val="212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="0" i="0">
              <a:latin typeface="FT Base Book" pitchFamily="2" charset="77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219424" y="-333375"/>
            <a:ext cx="2740915" cy="255454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algn="ctr" rtl="0">
              <a:defRPr lang="en-US" sz="16600" b="0" dirty="0">
                <a:solidFill>
                  <a:srgbClr val="0CD3F8"/>
                </a:solidFill>
                <a:cs typeface="+mn-cs"/>
              </a:defRPr>
            </a:lvl1pPr>
          </a:lstStyle>
          <a:p>
            <a:pPr lvl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861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rast Mid 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99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36060" y="4572762"/>
            <a:ext cx="7055739" cy="615553"/>
          </a:xfrm>
          <a:prstGeom prst="rect">
            <a:avLst/>
          </a:prstGeom>
        </p:spPr>
        <p:txBody>
          <a:bodyPr vert="horz" wrap="square" rIns="365760" anchor="t" anchorCtr="0">
            <a:spAutoFit/>
          </a:bodyPr>
          <a:lstStyle>
            <a:lvl1pPr rtl="0">
              <a:defRPr sz="4000" b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DABEE8-D265-41CF-B798-6E9D756270CC}"/>
              </a:ext>
            </a:extLst>
          </p:cNvPr>
          <p:cNvSpPr/>
          <p:nvPr userDrawn="1"/>
        </p:nvSpPr>
        <p:spPr>
          <a:xfrm>
            <a:off x="0" y="0"/>
            <a:ext cx="3179763" cy="6858000"/>
          </a:xfrm>
          <a:prstGeom prst="rect">
            <a:avLst/>
          </a:prstGeom>
          <a:solidFill>
            <a:srgbClr val="212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="0" i="0">
              <a:latin typeface="FT Base Book" pitchFamily="2" charset="77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219424" y="-333375"/>
            <a:ext cx="2740915" cy="255454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algn="ctr" rtl="0">
              <a:defRPr lang="en-US" sz="16600" b="0" dirty="0">
                <a:solidFill>
                  <a:schemeClr val="accent2"/>
                </a:solidFill>
                <a:cs typeface="+mn-cs"/>
              </a:defRPr>
            </a:lvl1pPr>
          </a:lstStyle>
          <a:p>
            <a:pPr lvl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533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37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B79473A-3385-FF46-9D69-6CE96050F88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8283" y="172212"/>
            <a:ext cx="1086942" cy="543471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7C53CAF-84FB-DF2A-E100-65B63FD6A145}"/>
              </a:ext>
            </a:extLst>
          </p:cNvPr>
          <p:cNvGrpSpPr/>
          <p:nvPr userDrawn="1"/>
        </p:nvGrpSpPr>
        <p:grpSpPr>
          <a:xfrm>
            <a:off x="11155225" y="-283660"/>
            <a:ext cx="1660687" cy="1044491"/>
            <a:chOff x="5655090" y="-522464"/>
            <a:chExt cx="12611594" cy="18555538"/>
          </a:xfrm>
          <a:blipFill dpi="0" rotWithShape="1">
            <a:blip r:embed="rId12">
              <a:alphaModFix amt="67000"/>
            </a:blip>
            <a:srcRect/>
            <a:stretch>
              <a:fillRect/>
            </a:stretch>
          </a:blip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5E00DD4-337D-83F3-7C6B-E2AC6B1F1DB3}"/>
                </a:ext>
              </a:extLst>
            </p:cNvPr>
            <p:cNvGrpSpPr/>
            <p:nvPr/>
          </p:nvGrpSpPr>
          <p:grpSpPr>
            <a:xfrm rot="19157172">
              <a:off x="5655090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22" name="Flowchart: Terminator 21">
                <a:extLst>
                  <a:ext uri="{FF2B5EF4-FFF2-40B4-BE49-F238E27FC236}">
                    <a16:creationId xmlns:a16="http://schemas.microsoft.com/office/drawing/2014/main" id="{D80B53FF-84DF-00E8-F854-EA7D6179B44D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s-E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8C4FA51E-3DC0-5835-F3C9-2C38D206FA13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s-ES" sz="160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" name="Flowchart: Terminator 18">
              <a:extLst>
                <a:ext uri="{FF2B5EF4-FFF2-40B4-BE49-F238E27FC236}">
                  <a16:creationId xmlns:a16="http://schemas.microsoft.com/office/drawing/2014/main" id="{AD2C2FCE-6C9B-EF68-D7D0-8D61E6ABFC02}"/>
                </a:ext>
              </a:extLst>
            </p:cNvPr>
            <p:cNvSpPr/>
            <p:nvPr/>
          </p:nvSpPr>
          <p:spPr>
            <a:xfrm rot="19157172">
              <a:off x="12096675" y="13897871"/>
              <a:ext cx="5471604" cy="4135203"/>
            </a:xfrm>
            <a:prstGeom prst="flowChartTerminator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 err="1">
                <a:solidFill>
                  <a:schemeClr val="bg1"/>
                </a:solidFill>
              </a:endParaRPr>
            </a:p>
          </p:txBody>
        </p:sp>
        <p:sp>
          <p:nvSpPr>
            <p:cNvPr id="20" name="Flowchart: Terminator 19">
              <a:extLst>
                <a:ext uri="{FF2B5EF4-FFF2-40B4-BE49-F238E27FC236}">
                  <a16:creationId xmlns:a16="http://schemas.microsoft.com/office/drawing/2014/main" id="{DE6C2D8C-4834-A8DB-CC28-47E42A0A7B91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>
                <a:solidFill>
                  <a:schemeClr val="bg1"/>
                </a:solidFill>
              </a:endParaRPr>
            </a:p>
          </p:txBody>
        </p:sp>
        <p:sp>
          <p:nvSpPr>
            <p:cNvPr id="21" name="Flowchart: Terminator 20">
              <a:extLst>
                <a:ext uri="{FF2B5EF4-FFF2-40B4-BE49-F238E27FC236}">
                  <a16:creationId xmlns:a16="http://schemas.microsoft.com/office/drawing/2014/main" id="{0D0D2839-63F0-AF84-9B35-16CA646DA0D6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id="{9917196D-B978-DC49-855E-0CDCD968405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2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77287"/>
            <a:ext cx="6513722" cy="1846659"/>
          </a:xfrm>
          <a:prstGeom prst="rect">
            <a:avLst/>
          </a:prstGeom>
        </p:spPr>
        <p:txBody>
          <a:bodyPr vert="horz" wrap="square" rIns="365760" anchor="ctr" anchorCtr="0">
            <a:spAutoFit/>
          </a:bodyPr>
          <a:lstStyle>
            <a:lvl1pPr rtl="0">
              <a:defRPr sz="6000" b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4280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268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660437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291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601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5" y="2724192"/>
            <a:ext cx="9180576" cy="704808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4800">
                <a:solidFill>
                  <a:schemeClr val="accent5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54735" y="363418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06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5" y="2724192"/>
            <a:ext cx="9180576" cy="704808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54735" y="363418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638537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rast Quot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49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5" y="2724192"/>
            <a:ext cx="9180576" cy="704808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4800">
                <a:solidFill>
                  <a:schemeClr val="accent5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54735" y="363418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875498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668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8" name="Sticker" hidden="1">
            <a:extLst>
              <a:ext uri="{FF2B5EF4-FFF2-40B4-BE49-F238E27FC236}">
                <a16:creationId xmlns:a16="http://schemas.microsoft.com/office/drawing/2014/main" id="{02AE8CE4-BD27-40D4-AB6E-9F41E7636086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1154162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7B32C55-2A60-0A4A-B466-A8B6BB1679F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592" imgH="591" progId="TCLayout.ActiveDocument.1">
                  <p:embed/>
                </p:oleObj>
              </mc:Choice>
              <mc:Fallback>
                <p:oleObj name="Diapositiva de think-cell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F420AAD-3EDC-844A-A254-3CB5239E219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7211" y="172212"/>
            <a:ext cx="1050052" cy="52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End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1DC72A9-8A26-D942-A180-DA76D3C86FD6}"/>
              </a:ext>
            </a:extLst>
          </p:cNvPr>
          <p:cNvSpPr txBox="1"/>
          <p:nvPr userDrawn="1"/>
        </p:nvSpPr>
        <p:spPr>
          <a:xfrm>
            <a:off x="7957751" y="15322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s-ES" sz="160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2999FAE0-F294-5941-8350-B7077D6DDB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6056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486FD8C-7051-6A4F-83DB-7E739A1283D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740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88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gray">
          <a:xfrm>
            <a:off x="554736" y="1022441"/>
            <a:ext cx="984656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9846564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9BB2B9C-B549-7742-A484-8183028B10F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2787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13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6125131"/>
            <a:ext cx="746263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5707522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739817"/>
            <a:ext cx="746175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BFF97C87-66EC-0F4D-90DC-8AE67735443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01" y="563389"/>
            <a:ext cx="2446638" cy="122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9572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F379BB9C-C70A-644E-BC4B-7119BFFBBAF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177823" y="6163231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3554872"/>
            <a:ext cx="6477508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304138"/>
            <a:ext cx="647750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25310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37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D41F7D4E-9CC6-BA47-826A-71BDDECBBBC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6842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88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gray">
          <a:xfrm>
            <a:off x="554736" y="1022441"/>
            <a:ext cx="984656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9846564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C79431A-E5D2-9148-AB19-1D5E1AD014E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119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5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F21C5F41-7612-AB4C-A87D-056BE9429C6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8265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950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580792A-8DBA-2140-A980-326C21E577E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5862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5716D40-DA22-A94B-A16D-1C9FC85F00A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651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5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80210"/>
            <a:ext cx="9180576" cy="499239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6FD35EB-A69D-FD47-80D0-4CA5F7E2A19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8041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26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1154162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B1586395-F19B-5F4A-A431-3653E136BDD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8306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592" imgH="591" progId="TCLayout.ActiveDocument.1">
                  <p:embed/>
                </p:oleObj>
              </mc:Choice>
              <mc:Fallback>
                <p:oleObj name="Diapositiva de think-cell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7919E32F-2A98-0147-A56A-7C62DCE3944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9793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5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3BA6933E-C6D8-0A49-8763-ADB7B748C25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03A1DEC-245B-0145-9334-BFA1FF4619F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7747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94FC7C4A-0CF8-7746-9136-C87DAB46C57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5658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2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77287"/>
            <a:ext cx="6513722" cy="1846659"/>
          </a:xfrm>
          <a:prstGeom prst="rect">
            <a:avLst/>
          </a:prstGeom>
        </p:spPr>
        <p:txBody>
          <a:bodyPr vert="horz" wrap="square" rIns="365760" anchor="ctr" anchorCtr="0">
            <a:spAutoFit/>
          </a:bodyPr>
          <a:lstStyle>
            <a:lvl1pPr rtl="0">
              <a:defRPr sz="6000" b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C4F2B11-1F7F-1145-9D78-C8228E07EC8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1171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13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6125131"/>
            <a:ext cx="746263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5707522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739817"/>
            <a:ext cx="746175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DA3FD7D-5A75-704F-B50A-2B868CC157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01" y="563389"/>
            <a:ext cx="2446638" cy="122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3378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FA1E6FC8-EB07-F340-A277-D8A80208E4C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177823" y="6163231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3554872"/>
            <a:ext cx="6477508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304138"/>
            <a:ext cx="647750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2373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37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B79473A-3385-FF46-9D69-6CE96050F88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7493" y="172212"/>
            <a:ext cx="1086942" cy="54347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2B9F408-F750-050C-EA1D-6A50580146BD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2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E2363BB-21B6-F339-40C4-47F532E810FD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5" name="Flowchart: Terminator 14">
                <a:extLst>
                  <a:ext uri="{FF2B5EF4-FFF2-40B4-BE49-F238E27FC236}">
                    <a16:creationId xmlns:a16="http://schemas.microsoft.com/office/drawing/2014/main" id="{9941C601-B356-D59F-2D77-1DF0A6771CF3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474260E-C68A-2450-3BAA-56D4DC45AB75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" name="Flowchart: Terminator 5">
              <a:extLst>
                <a:ext uri="{FF2B5EF4-FFF2-40B4-BE49-F238E27FC236}">
                  <a16:creationId xmlns:a16="http://schemas.microsoft.com/office/drawing/2014/main" id="{BD315E7C-19D6-4B8D-B1CF-AB8808FF6FE9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lowchart: Terminator 6">
              <a:extLst>
                <a:ext uri="{FF2B5EF4-FFF2-40B4-BE49-F238E27FC236}">
                  <a16:creationId xmlns:a16="http://schemas.microsoft.com/office/drawing/2014/main" id="{A345AECD-8064-CC6A-751E-9B48002FC7A3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lowchart: Terminator 12">
              <a:extLst>
                <a:ext uri="{FF2B5EF4-FFF2-40B4-BE49-F238E27FC236}">
                  <a16:creationId xmlns:a16="http://schemas.microsoft.com/office/drawing/2014/main" id="{E44F9A2F-C8A3-EF26-1179-6043C8AEC65D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6178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88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13" imgH="416" progId="TCLayout.ActiveDocument.1">
                  <p:embed/>
                </p:oleObj>
              </mc:Choice>
              <mc:Fallback>
                <p:oleObj name="Diapositiva d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gray">
          <a:xfrm>
            <a:off x="554736" y="1022441"/>
            <a:ext cx="984656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9846564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pic>
        <p:nvPicPr>
          <p:cNvPr id="2" name="Imagen 11">
            <a:extLst>
              <a:ext uri="{FF2B5EF4-FFF2-40B4-BE49-F238E27FC236}">
                <a16:creationId xmlns:a16="http://schemas.microsoft.com/office/drawing/2014/main" id="{E1578AA1-3F2C-7FCE-CD97-9F0ED1C8310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9AFB6EC-D6D0-57F7-09A8-104EFEFF8849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2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5FCF7DF-6610-70BE-551A-ADC49645443E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6" name="Flowchart: Terminator 15">
                <a:extLst>
                  <a:ext uri="{FF2B5EF4-FFF2-40B4-BE49-F238E27FC236}">
                    <a16:creationId xmlns:a16="http://schemas.microsoft.com/office/drawing/2014/main" id="{963F6192-49A5-6B31-5DC7-E00AE53313D8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43DAA7D-D8C7-3A66-8216-ADEA16E13E64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" name="Flowchart: Terminator 6">
              <a:extLst>
                <a:ext uri="{FF2B5EF4-FFF2-40B4-BE49-F238E27FC236}">
                  <a16:creationId xmlns:a16="http://schemas.microsoft.com/office/drawing/2014/main" id="{63DE265C-7DFD-E04A-2022-20C157ACC0A3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lowchart: Terminator 11">
              <a:extLst>
                <a:ext uri="{FF2B5EF4-FFF2-40B4-BE49-F238E27FC236}">
                  <a16:creationId xmlns:a16="http://schemas.microsoft.com/office/drawing/2014/main" id="{774EFF6B-C225-37D1-05A7-83150EB5E24C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lowchart: Terminator 14">
              <a:extLst>
                <a:ext uri="{FF2B5EF4-FFF2-40B4-BE49-F238E27FC236}">
                  <a16:creationId xmlns:a16="http://schemas.microsoft.com/office/drawing/2014/main" id="{F9AA187E-8455-5015-B4C6-190E30875C9B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8744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5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Imagen 11">
            <a:extLst>
              <a:ext uri="{FF2B5EF4-FFF2-40B4-BE49-F238E27FC236}">
                <a16:creationId xmlns:a16="http://schemas.microsoft.com/office/drawing/2014/main" id="{4A35C198-B1D3-C986-ADC3-97FDE5CF650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6053B629-6692-E7E7-35B0-C603D823B9CB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1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E0E6AE5-C249-4B16-BAB1-B64BDE515832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5" name="Flowchart: Terminator 14">
                <a:extLst>
                  <a:ext uri="{FF2B5EF4-FFF2-40B4-BE49-F238E27FC236}">
                    <a16:creationId xmlns:a16="http://schemas.microsoft.com/office/drawing/2014/main" id="{AC6E1905-2C9C-B5A7-8C65-D2C2D7D4C1B3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6EDB12DB-F54D-F51E-993D-62848A75257B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8" name="Flowchart: Terminator 7">
              <a:extLst>
                <a:ext uri="{FF2B5EF4-FFF2-40B4-BE49-F238E27FC236}">
                  <a16:creationId xmlns:a16="http://schemas.microsoft.com/office/drawing/2014/main" id="{128316CB-956D-4A92-89A6-10D2B6024A20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lowchart: Terminator 12">
              <a:extLst>
                <a:ext uri="{FF2B5EF4-FFF2-40B4-BE49-F238E27FC236}">
                  <a16:creationId xmlns:a16="http://schemas.microsoft.com/office/drawing/2014/main" id="{4B853CD1-968A-C947-1E06-B85B273345D3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:a16="http://schemas.microsoft.com/office/drawing/2014/main" id="{B7396401-6C6E-F84D-3CC7-4836B7CA6021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72021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950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5" name="Imagen 11">
            <a:extLst>
              <a:ext uri="{FF2B5EF4-FFF2-40B4-BE49-F238E27FC236}">
                <a16:creationId xmlns:a16="http://schemas.microsoft.com/office/drawing/2014/main" id="{2D5B168B-7A54-2457-FCE7-C427F9668EC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40D1B2CB-9FE1-5ED8-9CFF-F4D83B7AC081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1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DA5A3EA-6926-DDFA-1AF7-B883FB27EF1A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5" name="Flowchart: Terminator 14">
                <a:extLst>
                  <a:ext uri="{FF2B5EF4-FFF2-40B4-BE49-F238E27FC236}">
                    <a16:creationId xmlns:a16="http://schemas.microsoft.com/office/drawing/2014/main" id="{415CE7B6-1D51-335A-25F3-2ACD1C4C561A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3158EE6-8E13-28D5-7B03-C0347285B2E7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Flowchart: Terminator 10">
              <a:extLst>
                <a:ext uri="{FF2B5EF4-FFF2-40B4-BE49-F238E27FC236}">
                  <a16:creationId xmlns:a16="http://schemas.microsoft.com/office/drawing/2014/main" id="{32EC50AF-C771-A793-1D08-3882C20AEF3D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lowchart: Terminator 12">
              <a:extLst>
                <a:ext uri="{FF2B5EF4-FFF2-40B4-BE49-F238E27FC236}">
                  <a16:creationId xmlns:a16="http://schemas.microsoft.com/office/drawing/2014/main" id="{82E9A3BD-D73D-B717-6CF4-E4CA0301FFF0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:a16="http://schemas.microsoft.com/office/drawing/2014/main" id="{F0B542C8-F12B-3AE3-A683-33D78154C5B6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86009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4" name="Imagen 11">
            <a:extLst>
              <a:ext uri="{FF2B5EF4-FFF2-40B4-BE49-F238E27FC236}">
                <a16:creationId xmlns:a16="http://schemas.microsoft.com/office/drawing/2014/main" id="{124D3C8D-066A-6F18-59D1-64B7BA45E4C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0CAE7F3-0BB7-E4E6-A42D-967F38AF2293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1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84215DA-ADF3-17E5-8F03-3BF06555E14F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5" name="Flowchart: Terminator 14">
                <a:extLst>
                  <a:ext uri="{FF2B5EF4-FFF2-40B4-BE49-F238E27FC236}">
                    <a16:creationId xmlns:a16="http://schemas.microsoft.com/office/drawing/2014/main" id="{5DD2B20E-525E-6B7B-1AC5-29A45068EEBD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982C0283-5864-16EC-FDA8-289CE7B3A637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" name="Flowchart: Terminator 11">
              <a:extLst>
                <a:ext uri="{FF2B5EF4-FFF2-40B4-BE49-F238E27FC236}">
                  <a16:creationId xmlns:a16="http://schemas.microsoft.com/office/drawing/2014/main" id="{06B4651D-AAD7-A2F1-C45D-03FC803F43F7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lowchart: Terminator 12">
              <a:extLst>
                <a:ext uri="{FF2B5EF4-FFF2-40B4-BE49-F238E27FC236}">
                  <a16:creationId xmlns:a16="http://schemas.microsoft.com/office/drawing/2014/main" id="{5EA4B1C8-579A-E218-8E3F-6AD1A94DB785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:a16="http://schemas.microsoft.com/office/drawing/2014/main" id="{F7CD809A-1781-CC27-0248-9C8FBD8BAD9C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93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950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E3419A2-5BCB-824F-B8A9-C304B6906ED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5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80210"/>
            <a:ext cx="9180576" cy="499239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4" name="Imagen 11">
            <a:extLst>
              <a:ext uri="{FF2B5EF4-FFF2-40B4-BE49-F238E27FC236}">
                <a16:creationId xmlns:a16="http://schemas.microsoft.com/office/drawing/2014/main" id="{6AC62DFA-D61F-BDA4-C682-56D07BCFD33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5EFBA71-5B25-591F-BD76-084E80B032A1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2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0CEF14F-3462-A866-F248-E34E8FA47F62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6" name="Flowchart: Terminator 15">
                <a:extLst>
                  <a:ext uri="{FF2B5EF4-FFF2-40B4-BE49-F238E27FC236}">
                    <a16:creationId xmlns:a16="http://schemas.microsoft.com/office/drawing/2014/main" id="{79ECE57F-1BB1-16CA-0DA1-2350CD3F0C8E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A91109B-2F7C-CC9A-1790-0B25BFFA33BC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" name="Flowchart: Terminator 12">
              <a:extLst>
                <a:ext uri="{FF2B5EF4-FFF2-40B4-BE49-F238E27FC236}">
                  <a16:creationId xmlns:a16="http://schemas.microsoft.com/office/drawing/2014/main" id="{A558B709-8D60-8926-14A3-B3BC2507926D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:a16="http://schemas.microsoft.com/office/drawing/2014/main" id="{E0B3EC80-1674-E503-FDD0-26D331AB7CE4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lowchart: Terminator 14">
              <a:extLst>
                <a:ext uri="{FF2B5EF4-FFF2-40B4-BE49-F238E27FC236}">
                  <a16:creationId xmlns:a16="http://schemas.microsoft.com/office/drawing/2014/main" id="{44346F03-1122-3CD8-1008-F3EB0CAF5209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23032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26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1154162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pic>
        <p:nvPicPr>
          <p:cNvPr id="5" name="Imagen 11">
            <a:extLst>
              <a:ext uri="{FF2B5EF4-FFF2-40B4-BE49-F238E27FC236}">
                <a16:creationId xmlns:a16="http://schemas.microsoft.com/office/drawing/2014/main" id="{86E30D80-C71B-261A-B3AC-03ADB89E62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109472B-AB85-F3C3-C6EA-6ABE43238410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11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08D1111-569C-3BAC-211C-5B6FF7F16CA0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6" name="Flowchart: Terminator 15">
                <a:extLst>
                  <a:ext uri="{FF2B5EF4-FFF2-40B4-BE49-F238E27FC236}">
                    <a16:creationId xmlns:a16="http://schemas.microsoft.com/office/drawing/2014/main" id="{D33692FC-F47D-5987-1A7B-62BAE05FA9BB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B35107A-0B14-2386-534D-A5AD335FD43A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" name="Flowchart: Terminator 11">
              <a:extLst>
                <a:ext uri="{FF2B5EF4-FFF2-40B4-BE49-F238E27FC236}">
                  <a16:creationId xmlns:a16="http://schemas.microsoft.com/office/drawing/2014/main" id="{033D55CA-E9C2-DBBF-0C36-FB622984E084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lowchart: Terminator 12">
              <a:extLst>
                <a:ext uri="{FF2B5EF4-FFF2-40B4-BE49-F238E27FC236}">
                  <a16:creationId xmlns:a16="http://schemas.microsoft.com/office/drawing/2014/main" id="{1586F908-871C-CDF3-5F34-3C4CD0725728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:a16="http://schemas.microsoft.com/office/drawing/2014/main" id="{D5590EF4-3D9F-8DA1-B0BB-CEFB58777DEA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42704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592" imgH="591" progId="TCLayout.ActiveDocument.1">
                  <p:embed/>
                </p:oleObj>
              </mc:Choice>
              <mc:Fallback>
                <p:oleObj name="Diapositiva de think-cell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3" name="Imagen 11">
            <a:extLst>
              <a:ext uri="{FF2B5EF4-FFF2-40B4-BE49-F238E27FC236}">
                <a16:creationId xmlns:a16="http://schemas.microsoft.com/office/drawing/2014/main" id="{462CF3BC-50E2-3530-79FC-93772A3BE2A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393" y="172212"/>
            <a:ext cx="1086942" cy="543471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624C639-DFCC-98E0-6301-5D768DB05AF9}"/>
              </a:ext>
            </a:extLst>
          </p:cNvPr>
          <p:cNvGrpSpPr/>
          <p:nvPr userDrawn="1"/>
        </p:nvGrpSpPr>
        <p:grpSpPr>
          <a:xfrm>
            <a:off x="10921550" y="-401844"/>
            <a:ext cx="2281248" cy="1148111"/>
            <a:chOff x="4513525" y="-2180036"/>
            <a:chExt cx="13753159" cy="16191991"/>
          </a:xfrm>
          <a:blipFill dpi="0" rotWithShape="1">
            <a:blip r:embed="rId9">
              <a:alphaModFix amt="71000"/>
            </a:blip>
            <a:srcRect/>
            <a:stretch>
              <a:fillRect/>
            </a:stretch>
          </a:blipFill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EBCABEF-98C6-1B42-E869-CB4381ED027B}"/>
                </a:ext>
              </a:extLst>
            </p:cNvPr>
            <p:cNvGrpSpPr/>
            <p:nvPr/>
          </p:nvGrpSpPr>
          <p:grpSpPr>
            <a:xfrm rot="19157172">
              <a:off x="5655091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13" name="Flowchart: Terminator 12">
                <a:extLst>
                  <a:ext uri="{FF2B5EF4-FFF2-40B4-BE49-F238E27FC236}">
                    <a16:creationId xmlns:a16="http://schemas.microsoft.com/office/drawing/2014/main" id="{D9B379A8-DB05-7FA5-BF81-BB676CE266EC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6C0A603-1D78-BF62-7A07-F7E88641835C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" name="Flowchart: Terminator 5">
              <a:extLst>
                <a:ext uri="{FF2B5EF4-FFF2-40B4-BE49-F238E27FC236}">
                  <a16:creationId xmlns:a16="http://schemas.microsoft.com/office/drawing/2014/main" id="{D0A028D3-EB41-3FAC-F7A5-65B41022C542}"/>
                </a:ext>
              </a:extLst>
            </p:cNvPr>
            <p:cNvSpPr/>
            <p:nvPr/>
          </p:nvSpPr>
          <p:spPr>
            <a:xfrm rot="19157172">
              <a:off x="4513525" y="-2180036"/>
              <a:ext cx="5471603" cy="4135205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lowchart: Terminator 10">
              <a:extLst>
                <a:ext uri="{FF2B5EF4-FFF2-40B4-BE49-F238E27FC236}">
                  <a16:creationId xmlns:a16="http://schemas.microsoft.com/office/drawing/2014/main" id="{C715D939-E401-F508-EA1D-A32F494B06FA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lowchart: Terminator 11">
              <a:extLst>
                <a:ext uri="{FF2B5EF4-FFF2-40B4-BE49-F238E27FC236}">
                  <a16:creationId xmlns:a16="http://schemas.microsoft.com/office/drawing/2014/main" id="{A1E68203-D7DF-B932-4B4F-305F003B3394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0782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966543-0D4D-2648-BE5D-584177FF0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4948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966543-0D4D-2648-BE5D-584177FF0E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1618"/>
          <a:stretch/>
        </p:blipFill>
        <p:spPr>
          <a:xfrm>
            <a:off x="0" y="0"/>
            <a:ext cx="12192000" cy="53754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F28AC2-B00C-49EA-AEC5-6EC1CF68127F}"/>
              </a:ext>
            </a:extLst>
          </p:cNvPr>
          <p:cNvSpPr/>
          <p:nvPr userDrawn="1"/>
        </p:nvSpPr>
        <p:spPr>
          <a:xfrm>
            <a:off x="1" y="5375429"/>
            <a:ext cx="12192000" cy="148257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1732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0906383-34D1-1C47-A59C-D0CA5C64134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638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B2CF68E-22C3-9C44-9F88-BC43E471FE0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5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80210"/>
            <a:ext cx="9180576" cy="499239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31FB9A9-20A1-DC4A-B5B6-F9D6E3669E0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26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1154162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E76184A-620D-DA4B-9E4F-26DDB52633C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893" y="172212"/>
            <a:ext cx="1086942" cy="54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tags" Target="../tags/tag91.xml"/><Relationship Id="rId39" Type="http://schemas.openxmlformats.org/officeDocument/2006/relationships/tags" Target="../tags/tag104.xml"/><Relationship Id="rId21" Type="http://schemas.openxmlformats.org/officeDocument/2006/relationships/slideLayout" Target="../slideLayouts/slideLayout36.xml"/><Relationship Id="rId34" Type="http://schemas.openxmlformats.org/officeDocument/2006/relationships/tags" Target="../tags/tag99.xml"/><Relationship Id="rId42" Type="http://schemas.openxmlformats.org/officeDocument/2006/relationships/tags" Target="../tags/tag107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tags" Target="../tags/tag9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40" Type="http://schemas.openxmlformats.org/officeDocument/2006/relationships/tags" Target="../tags/tag105.xml"/><Relationship Id="rId45" Type="http://schemas.openxmlformats.org/officeDocument/2006/relationships/tags" Target="../tags/tag110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96.xml"/><Relationship Id="rId44" Type="http://schemas.openxmlformats.org/officeDocument/2006/relationships/tags" Target="../tags/tag109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43" Type="http://schemas.openxmlformats.org/officeDocument/2006/relationships/tags" Target="../tags/tag108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heme" Target="../theme/theme2.xml"/><Relationship Id="rId33" Type="http://schemas.openxmlformats.org/officeDocument/2006/relationships/tags" Target="../tags/tag98.xml"/><Relationship Id="rId38" Type="http://schemas.openxmlformats.org/officeDocument/2006/relationships/tags" Target="../tags/tag103.xml"/><Relationship Id="rId46" Type="http://schemas.openxmlformats.org/officeDocument/2006/relationships/oleObject" Target="../embeddings/oleObject16.bin"/><Relationship Id="rId20" Type="http://schemas.openxmlformats.org/officeDocument/2006/relationships/slideLayout" Target="../slideLayouts/slideLayout35.xml"/><Relationship Id="rId41" Type="http://schemas.openxmlformats.org/officeDocument/2006/relationships/tags" Target="../tags/tag10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248.xml"/><Relationship Id="rId26" Type="http://schemas.openxmlformats.org/officeDocument/2006/relationships/tags" Target="../tags/tag256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51.xml"/><Relationship Id="rId34" Type="http://schemas.openxmlformats.org/officeDocument/2006/relationships/tags" Target="../tags/tag264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247.xml"/><Relationship Id="rId25" Type="http://schemas.openxmlformats.org/officeDocument/2006/relationships/tags" Target="../tags/tag255.xml"/><Relationship Id="rId33" Type="http://schemas.openxmlformats.org/officeDocument/2006/relationships/tags" Target="../tags/tag263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46.xml"/><Relationship Id="rId20" Type="http://schemas.openxmlformats.org/officeDocument/2006/relationships/tags" Target="../tags/tag250.xml"/><Relationship Id="rId29" Type="http://schemas.openxmlformats.org/officeDocument/2006/relationships/tags" Target="../tags/tag2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254.xml"/><Relationship Id="rId32" Type="http://schemas.openxmlformats.org/officeDocument/2006/relationships/tags" Target="../tags/tag262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245.xml"/><Relationship Id="rId23" Type="http://schemas.openxmlformats.org/officeDocument/2006/relationships/tags" Target="../tags/tag253.xml"/><Relationship Id="rId28" Type="http://schemas.openxmlformats.org/officeDocument/2006/relationships/tags" Target="../tags/tag25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49.xml"/><Relationship Id="rId31" Type="http://schemas.openxmlformats.org/officeDocument/2006/relationships/tags" Target="../tags/tag261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3.xml"/><Relationship Id="rId22" Type="http://schemas.openxmlformats.org/officeDocument/2006/relationships/tags" Target="../tags/tag252.xml"/><Relationship Id="rId27" Type="http://schemas.openxmlformats.org/officeDocument/2006/relationships/tags" Target="../tags/tag257.xml"/><Relationship Id="rId30" Type="http://schemas.openxmlformats.org/officeDocument/2006/relationships/tags" Target="../tags/tag260.xml"/><Relationship Id="rId35" Type="http://schemas.openxmlformats.org/officeDocument/2006/relationships/oleObject" Target="../embeddings/oleObject39.bin"/><Relationship Id="rId8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tags" Target="../tags/tag336.xml"/><Relationship Id="rId26" Type="http://schemas.openxmlformats.org/officeDocument/2006/relationships/tags" Target="../tags/tag344.xml"/><Relationship Id="rId3" Type="http://schemas.openxmlformats.org/officeDocument/2006/relationships/slideLayout" Target="../slideLayouts/slideLayout55.xml"/><Relationship Id="rId21" Type="http://schemas.openxmlformats.org/officeDocument/2006/relationships/tags" Target="../tags/tag339.xml"/><Relationship Id="rId34" Type="http://schemas.openxmlformats.org/officeDocument/2006/relationships/tags" Target="../tags/tag352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tags" Target="../tags/tag335.xml"/><Relationship Id="rId25" Type="http://schemas.openxmlformats.org/officeDocument/2006/relationships/tags" Target="../tags/tag343.xml"/><Relationship Id="rId33" Type="http://schemas.openxmlformats.org/officeDocument/2006/relationships/tags" Target="../tags/tag351.xml"/><Relationship Id="rId2" Type="http://schemas.openxmlformats.org/officeDocument/2006/relationships/slideLayout" Target="../slideLayouts/slideLayout54.xml"/><Relationship Id="rId16" Type="http://schemas.openxmlformats.org/officeDocument/2006/relationships/tags" Target="../tags/tag334.xml"/><Relationship Id="rId20" Type="http://schemas.openxmlformats.org/officeDocument/2006/relationships/tags" Target="../tags/tag338.xml"/><Relationship Id="rId29" Type="http://schemas.openxmlformats.org/officeDocument/2006/relationships/tags" Target="../tags/tag347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tags" Target="../tags/tag342.xml"/><Relationship Id="rId32" Type="http://schemas.openxmlformats.org/officeDocument/2006/relationships/tags" Target="../tags/tag350.x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333.xml"/><Relationship Id="rId23" Type="http://schemas.openxmlformats.org/officeDocument/2006/relationships/tags" Target="../tags/tag341.xml"/><Relationship Id="rId28" Type="http://schemas.openxmlformats.org/officeDocument/2006/relationships/tags" Target="../tags/tag34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62.xml"/><Relationship Id="rId19" Type="http://schemas.openxmlformats.org/officeDocument/2006/relationships/tags" Target="../tags/tag337.xml"/><Relationship Id="rId31" Type="http://schemas.openxmlformats.org/officeDocument/2006/relationships/tags" Target="../tags/tag349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4.xml"/><Relationship Id="rId22" Type="http://schemas.openxmlformats.org/officeDocument/2006/relationships/tags" Target="../tags/tag340.xml"/><Relationship Id="rId27" Type="http://schemas.openxmlformats.org/officeDocument/2006/relationships/tags" Target="../tags/tag345.xml"/><Relationship Id="rId30" Type="http://schemas.openxmlformats.org/officeDocument/2006/relationships/tags" Target="../tags/tag348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0762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7" imgW="413" imgH="416" progId="TCLayout.ActiveDocument.1">
                  <p:embed/>
                </p:oleObj>
              </mc:Choice>
              <mc:Fallback>
                <p:oleObj name="Diapositiva de think-cell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25249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964729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87C6EDE4-51FB-4F9D-A2DD-686808A1A2F9}"/>
              </a:ext>
            </a:extLst>
          </p:cNvPr>
          <p:cNvGrpSpPr/>
          <p:nvPr userDrawn="1"/>
        </p:nvGrpSpPr>
        <p:grpSpPr>
          <a:xfrm>
            <a:off x="10317304" y="3355023"/>
            <a:ext cx="1361638" cy="958286"/>
            <a:chOff x="10162879" y="3243772"/>
            <a:chExt cx="1361638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22F001FE-88BD-4E72-ACF9-AF621E1AE7D2}"/>
                </a:ext>
              </a:extLst>
            </p:cNvPr>
            <p:cNvSpPr txBox="1"/>
            <p:nvPr/>
          </p:nvSpPr>
          <p:spPr>
            <a:xfrm>
              <a:off x="10886522" y="324377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5CE86F18-61A8-4DCD-ABAC-0B15BD62E117}"/>
                </a:ext>
              </a:extLst>
            </p:cNvPr>
            <p:cNvSpPr txBox="1"/>
            <p:nvPr/>
          </p:nvSpPr>
          <p:spPr>
            <a:xfrm>
              <a:off x="10886522" y="3615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30CCE3CA-84D6-4432-ADE2-0F6B753C34FD}"/>
                </a:ext>
              </a:extLst>
            </p:cNvPr>
            <p:cNvSpPr txBox="1"/>
            <p:nvPr/>
          </p:nvSpPr>
          <p:spPr>
            <a:xfrm>
              <a:off x="10886522" y="398661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FD14BDBA-DFCE-4F57-AA4E-2880FA4D1F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B9DF4B5-6F14-48CB-B9CE-600BDB1704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44FFACE1-EA9B-4916-B719-78089106EE1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id="{7A818255-5FF7-46DE-A5D6-92983EE23E00}"/>
              </a:ext>
            </a:extLst>
          </p:cNvPr>
          <p:cNvGrpSpPr/>
          <p:nvPr userDrawn="1"/>
        </p:nvGrpSpPr>
        <p:grpSpPr>
          <a:xfrm>
            <a:off x="10688315" y="1415983"/>
            <a:ext cx="990627" cy="1731859"/>
            <a:chOff x="7723680" y="1702457"/>
            <a:chExt cx="99062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id="{CD0C793F-AD0E-46E5-B850-56CF1CA0ABD9}"/>
                </a:ext>
              </a:extLst>
            </p:cNvPr>
            <p:cNvSpPr txBox="1"/>
            <p:nvPr/>
          </p:nvSpPr>
          <p:spPr>
            <a:xfrm>
              <a:off x="8076312" y="1709816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id="{B7EAD5BD-3A5A-4BC7-A399-BFAA0AE18C28}"/>
                </a:ext>
              </a:extLst>
            </p:cNvPr>
            <p:cNvSpPr txBox="1"/>
            <p:nvPr/>
          </p:nvSpPr>
          <p:spPr>
            <a:xfrm>
              <a:off x="8076312" y="2085275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id="{22515723-5223-432C-8341-059BC856ADB3}"/>
                </a:ext>
              </a:extLst>
            </p:cNvPr>
            <p:cNvSpPr txBox="1"/>
            <p:nvPr/>
          </p:nvSpPr>
          <p:spPr>
            <a:xfrm>
              <a:off x="8076312" y="246073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id="{C176E604-7D00-487B-949D-28B22E91313F}"/>
                </a:ext>
              </a:extLst>
            </p:cNvPr>
            <p:cNvSpPr txBox="1"/>
            <p:nvPr/>
          </p:nvSpPr>
          <p:spPr>
            <a:xfrm>
              <a:off x="8076312" y="2836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id="{6EBB621A-2F4C-4F8A-9C7B-B11B4E35A4C8}"/>
                </a:ext>
              </a:extLst>
            </p:cNvPr>
            <p:cNvSpPr txBox="1"/>
            <p:nvPr/>
          </p:nvSpPr>
          <p:spPr>
            <a:xfrm>
              <a:off x="8076312" y="321165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id="{F0608187-6FA4-4ECA-B05C-444806AC3B9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59ED6E42-6934-4E6E-9C4D-04279A65F95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E160F9B-F9EE-40EB-BE49-39F542E1ABA1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id="{63D0F8DF-C0E8-4FD1-8A2D-6494E30743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595F5BDC-8AE8-42F9-97BE-F2629CF5A8F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AC411E90-3BF2-42B2-BEF1-70310E9C6F8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id="{1E1899A9-4E8C-46CA-81B3-C09EB42880C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E4846378-117B-47C6-9D44-7CCAC2482B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911EEADC-90AD-403E-9185-EC112BB6B4F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id="{97143BDD-D948-4B7C-B718-EB1BF8A8489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C94E0620-0124-440C-B787-3C46D9988F09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27D07BC4-8F29-47B3-A7A9-4F38A5CFAD6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id="{8D333D92-2164-4167-B0F6-DACC2D19772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id="{FDB0A9CB-78E6-4549-B287-F1AF32280E74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id="{A630C9B3-C010-49EF-B136-136D9BD2CA0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BA47934C-5733-43F4-B6F6-21380FE2949C}"/>
              </a:ext>
            </a:extLst>
          </p:cNvPr>
          <p:cNvGrpSpPr/>
          <p:nvPr userDrawn="1"/>
        </p:nvGrpSpPr>
        <p:grpSpPr>
          <a:xfrm>
            <a:off x="10714801" y="4520490"/>
            <a:ext cx="964141" cy="1717282"/>
            <a:chOff x="10652400" y="4322824"/>
            <a:chExt cx="964141" cy="1717282"/>
          </a:xfrm>
        </p:grpSpPr>
        <p:sp>
          <p:nvSpPr>
            <p:cNvPr id="188" name="RectangleLegend1" hidden="1">
              <a:extLst>
                <a:ext uri="{FF2B5EF4-FFF2-40B4-BE49-F238E27FC236}">
                  <a16:creationId xmlns:a16="http://schemas.microsoft.com/office/drawing/2014/main" id="{4F488EDB-5556-4511-8A96-E1338F5E464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 hidden="1">
              <a:extLst>
                <a:ext uri="{FF2B5EF4-FFF2-40B4-BE49-F238E27FC236}">
                  <a16:creationId xmlns:a16="http://schemas.microsoft.com/office/drawing/2014/main" id="{0423580E-1E98-4AB7-8FF8-1B253BAF8BF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 hidden="1">
              <a:extLst>
                <a:ext uri="{FF2B5EF4-FFF2-40B4-BE49-F238E27FC236}">
                  <a16:creationId xmlns:a16="http://schemas.microsoft.com/office/drawing/2014/main" id="{16EA4BF8-E1EF-4EAF-92FC-AA1EB7E977E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 hidden="1">
              <a:extLst>
                <a:ext uri="{FF2B5EF4-FFF2-40B4-BE49-F238E27FC236}">
                  <a16:creationId xmlns:a16="http://schemas.microsoft.com/office/drawing/2014/main" id="{4DC24EA8-A23C-42EA-9725-4A5316E16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 hidden="1">
              <a:extLst>
                <a:ext uri="{FF2B5EF4-FFF2-40B4-BE49-F238E27FC236}">
                  <a16:creationId xmlns:a16="http://schemas.microsoft.com/office/drawing/2014/main" id="{60A82744-7E03-4D44-8491-F70D356007A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 hidden="1">
              <a:extLst>
                <a:ext uri="{FF2B5EF4-FFF2-40B4-BE49-F238E27FC236}">
                  <a16:creationId xmlns:a16="http://schemas.microsoft.com/office/drawing/2014/main" id="{E5D4A419-6B52-4363-81C4-0083A290484A}"/>
                </a:ext>
              </a:extLst>
            </p:cNvPr>
            <p:cNvSpPr txBox="1"/>
            <p:nvPr/>
          </p:nvSpPr>
          <p:spPr>
            <a:xfrm>
              <a:off x="10978546" y="432282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 hidden="1">
              <a:extLst>
                <a:ext uri="{FF2B5EF4-FFF2-40B4-BE49-F238E27FC236}">
                  <a16:creationId xmlns:a16="http://schemas.microsoft.com/office/drawing/2014/main" id="{5349D377-39CD-4A6D-AFF2-1B42523C5B8D}"/>
                </a:ext>
              </a:extLst>
            </p:cNvPr>
            <p:cNvSpPr txBox="1"/>
            <p:nvPr/>
          </p:nvSpPr>
          <p:spPr>
            <a:xfrm>
              <a:off x="10978546" y="470232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 hidden="1">
              <a:extLst>
                <a:ext uri="{FF2B5EF4-FFF2-40B4-BE49-F238E27FC236}">
                  <a16:creationId xmlns:a16="http://schemas.microsoft.com/office/drawing/2014/main" id="{C15EE519-AE85-43F0-9B2E-D80728D1620D}"/>
                </a:ext>
              </a:extLst>
            </p:cNvPr>
            <p:cNvSpPr txBox="1"/>
            <p:nvPr/>
          </p:nvSpPr>
          <p:spPr>
            <a:xfrm>
              <a:off x="10978546" y="508182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 hidden="1">
              <a:extLst>
                <a:ext uri="{FF2B5EF4-FFF2-40B4-BE49-F238E27FC236}">
                  <a16:creationId xmlns:a16="http://schemas.microsoft.com/office/drawing/2014/main" id="{9867F306-733F-4CFD-A888-629E1CF506B6}"/>
                </a:ext>
              </a:extLst>
            </p:cNvPr>
            <p:cNvSpPr txBox="1"/>
            <p:nvPr/>
          </p:nvSpPr>
          <p:spPr>
            <a:xfrm>
              <a:off x="10978546" y="54532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 hidden="1">
              <a:extLst>
                <a:ext uri="{FF2B5EF4-FFF2-40B4-BE49-F238E27FC236}">
                  <a16:creationId xmlns:a16="http://schemas.microsoft.com/office/drawing/2014/main" id="{B3D9300D-CCDE-495A-9E6F-BD5EFE160B13}"/>
                </a:ext>
              </a:extLst>
            </p:cNvPr>
            <p:cNvSpPr txBox="1"/>
            <p:nvPr/>
          </p:nvSpPr>
          <p:spPr>
            <a:xfrm>
              <a:off x="10978545" y="582466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910" r:id="rId2"/>
    <p:sldLayoutId id="2147483654" r:id="rId3"/>
    <p:sldLayoutId id="2147483897" r:id="rId4"/>
    <p:sldLayoutId id="2147483807" r:id="rId5"/>
    <p:sldLayoutId id="2147483800" r:id="rId6"/>
    <p:sldLayoutId id="2147483659" r:id="rId7"/>
    <p:sldLayoutId id="2147483804" r:id="rId8"/>
    <p:sldLayoutId id="2147483887" r:id="rId9"/>
    <p:sldLayoutId id="2147483706" r:id="rId10"/>
    <p:sldLayoutId id="2147483909" r:id="rId11"/>
    <p:sldLayoutId id="2147483935" r:id="rId12"/>
    <p:sldLayoutId id="2147483718" r:id="rId13"/>
    <p:sldLayoutId id="2147483951" r:id="rId14"/>
    <p:sldLayoutId id="2147483953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8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90" userDrawn="1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72906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6" imgW="592" imgH="591" progId="TCLayout.ActiveDocument.1">
                  <p:embed/>
                </p:oleObj>
              </mc:Choice>
              <mc:Fallback>
                <p:oleObj name="Diapositiva de think-cell" r:id="rId4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6" name="Grid" hidden="1">
            <a:extLst>
              <a:ext uri="{FF2B5EF4-FFF2-40B4-BE49-F238E27FC236}">
                <a16:creationId xmlns:a16="http://schemas.microsoft.com/office/drawing/2014/main" id="{00E02929-655A-4D11-8498-7B726B892859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246553F-F107-4247-AFD2-330A5E29AB37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B004011D-070D-4016-9995-FCB7504D0F9E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8EED4E9C-CBFD-493E-8230-4890744820C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C4E7EE8D-5E67-4BAD-BF3E-B49398A0D38A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EBF4CC32-113E-4603-89B5-B2E9710CEC86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1F0D8B50-908B-4BBC-B53E-EBFB79D81A0A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96B0BD72-05B5-4E6D-ADCA-69118552AB7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6FC8DA45-07AB-4141-99EE-E61BAAE7D11E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FAD9D4E0-4143-4515-A821-78819A398AF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5992F49D-6943-4918-866D-7066A87A4A79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1FE62798-DF2C-4227-978E-F44634E9B13E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2E77B44F-95E2-4A82-9055-AF6FD632A4C2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B867695C-B379-491F-A7BA-BB9CDD95C0A2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3CF70945-7437-42D7-8530-CC82474AD8C7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DA9FAF73-F6CC-433E-9E54-926227DC3B49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34A557B-494C-4AD9-8F89-E5E9AF83C5C9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F51026B-29C4-4F7C-BFF5-D2620B54A446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9CB8DDA-DEB9-4F33-8B16-4080680C908C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3CB0E135-78BE-4A78-8B8E-49EE618FDE01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8208839-3FD9-4108-AF55-EFAFE64878DE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B2AC86F-33CA-4F2C-87E3-578BBC834878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399E9D3-5CD6-46EF-8841-082C09FE512F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F1BE799B-05CC-43C3-BA7F-F6C85C06E3A1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29922180-B37A-4F36-9EF1-968A7058C3E4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2F205530-B739-4965-8F39-00F8FBF9EACF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A9BFC6E5-704D-4104-8F1F-6DB1C235A93C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4385216E-CB37-47AA-A5EC-C860686082F4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E699DF9-8C96-4EF1-8278-09F68ECAD255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A032DDF0-DB7D-4C06-9B2E-FEBAC77CE493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4B7943A5-8846-4B6F-925D-749F0A92CCE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BAEFCE8-AA4E-4972-BCB1-7CCA549391CB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AC7A7F14-873F-4714-A75C-0839615AA9FB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917B358-4946-4D30-AAAB-7E0175159EA0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E0BB4314-8F96-4718-8B5E-B905DDE49A7E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D2D0D114-5DE4-4E61-899C-07588FB06DF3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04036915-BBD4-4851-93E8-A797358279D9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6D83B2A-2D56-454A-A448-ACAE0CD1D158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37C2011-1B30-471D-B374-D87B2F631652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C8F76A20-DBFD-4B9A-BE7D-31180C641FA0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B545DD8E-6238-40A1-A9E7-0CB32914911D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846B7DA4-3920-4B1D-AA7A-BAA908F568D5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F712EFC8-A725-4CCE-8BC8-388C349C2F0F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1E269678-4626-4DD2-AD14-B4E734025420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FEF5B142-72A7-412C-A4A1-ED45648F13E2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86943484-6D68-4D25-BEA2-607B81CC81A1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24BD91D-C4CF-4637-A29C-DFBC02EF78D0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5CBB7BE1-7BDD-42BB-B011-062A7D4DE69C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B4FC5B03-6517-4A88-8B16-A1D4CE1B40F4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832FD3D2-0C2A-4082-A143-4EFFBD928298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13F6219C-6F70-4B61-A6BE-79D0FD7094BF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E3444F34-64A1-4A73-9AAC-870F360D0243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94808C27-CEC5-43D6-B2D7-3C3C7059B573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5B3503CC-B04C-426C-949F-F3FC31425FEB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A2B1578-5111-4BE7-931E-242321A59CA9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465DDD97-A397-40EC-A211-5E87B6B0B662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AF4D4C72-E117-4C1D-B739-B75FE02B87FC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41AED1DD-F122-4B41-B6BB-7719F1232C06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C2DE51BE-00F9-45C2-9743-601D27D2FCB1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51DBDE71-C5A4-47D0-8F4D-445ED7EBBC0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C4E39DC0-CDD5-4BB0-9423-B3CD76795955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34197F31-5ADE-425C-A215-3B985F2D0F70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C3F56A52-6409-474A-AC10-21942DF341D1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0F880D30-4361-4F07-9E65-761B56E8D8DF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00881E81-0967-47FA-B2F5-C2D42469C7EA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68FDAAED-2DE5-4415-AC4F-71BF36E3DAC2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F9B004E8-D88B-4A71-9DF9-0F9A36100A5C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6E082F8F-16FA-4AEB-8166-162C6FCCEB66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FC2DCAFF-2DF6-4BBC-BCDD-0D570455CE06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B977AE58-9FB0-42DA-9B39-BFD87E4B724A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EEF759A5-C252-45E9-B082-FD35CD055299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A6062B46-308B-4012-85F6-0368F5983B75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0D8E9E1-16CF-4856-B7CC-293CC0754512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CAC04634-4F05-4544-9451-CFC9D7814D5D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B5CF2D49-79B9-43C6-84C8-F0E26D667D1D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19D2EE3B-2073-41B9-BF48-6CF58DCD5F9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5427CE8A-B394-4BC8-90E6-F01DA9DFEF69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6C3FEEB-8CED-4573-950A-702EA59DB370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124DED01-33FE-453B-8054-51C70E958B69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4BC90B9C-86A4-4B76-AB2F-48C8BA557B2A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FD93DC-72B3-48E1-B57C-CAC54C82ED13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614304D6-019F-44B7-8088-DB02E79D3B35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9A21668-FF36-42B2-8E8C-DC36580D76B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9" name="main body box">
              <a:extLst>
                <a:ext uri="{FF2B5EF4-FFF2-40B4-BE49-F238E27FC236}">
                  <a16:creationId xmlns:a16="http://schemas.microsoft.com/office/drawing/2014/main" id="{0F4A42CE-FEE6-4F15-ABED-0ED2DF2E0134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FAFC25A2-0E4C-4885-9514-D2AB63FE0822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C6E16B4E-FA8E-424E-8B59-17E11E8A383B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2" name="Sticker" hidden="1">
            <a:extLst>
              <a:ext uri="{FF2B5EF4-FFF2-40B4-BE49-F238E27FC236}">
                <a16:creationId xmlns:a16="http://schemas.microsoft.com/office/drawing/2014/main" id="{B441B46A-23BA-471B-96B6-498030A9A587}"/>
              </a:ext>
            </a:extLst>
          </p:cNvPr>
          <p:cNvSpPr txBox="1"/>
          <p:nvPr userDrawn="1"/>
        </p:nvSpPr>
        <p:spPr>
          <a:xfrm>
            <a:off x="558489" y="964729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252493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5" name="LegendBoxes" hidden="1">
            <a:extLst>
              <a:ext uri="{FF2B5EF4-FFF2-40B4-BE49-F238E27FC236}">
                <a16:creationId xmlns:a16="http://schemas.microsoft.com/office/drawing/2014/main" id="{74988059-6F0C-4F45-8AB6-AE2E21503991}"/>
              </a:ext>
            </a:extLst>
          </p:cNvPr>
          <p:cNvGrpSpPr/>
          <p:nvPr userDrawn="1"/>
        </p:nvGrpSpPr>
        <p:grpSpPr>
          <a:xfrm>
            <a:off x="10714801" y="4520490"/>
            <a:ext cx="964141" cy="1717282"/>
            <a:chOff x="10554770" y="4322824"/>
            <a:chExt cx="964141" cy="1717282"/>
          </a:xfrm>
        </p:grpSpPr>
        <p:sp>
          <p:nvSpPr>
            <p:cNvPr id="144" name="RectangleLegend1" hidden="1">
              <a:extLst>
                <a:ext uri="{FF2B5EF4-FFF2-40B4-BE49-F238E27FC236}">
                  <a16:creationId xmlns:a16="http://schemas.microsoft.com/office/drawing/2014/main" id="{1F8AE3E6-D3D7-4362-9746-4ABEF7D5F308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8" name="RectangleLegend2" hidden="1">
              <a:extLst>
                <a:ext uri="{FF2B5EF4-FFF2-40B4-BE49-F238E27FC236}">
                  <a16:creationId xmlns:a16="http://schemas.microsoft.com/office/drawing/2014/main" id="{702F30A3-2544-44AA-8BF0-64F71BA9FEF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9" name="RectangleLegend3" hidden="1">
              <a:extLst>
                <a:ext uri="{FF2B5EF4-FFF2-40B4-BE49-F238E27FC236}">
                  <a16:creationId xmlns:a16="http://schemas.microsoft.com/office/drawing/2014/main" id="{CFEB3594-04A5-4290-BEDA-C29A67C25BEF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0" name="RectangleLegend4" hidden="1">
              <a:extLst>
                <a:ext uri="{FF2B5EF4-FFF2-40B4-BE49-F238E27FC236}">
                  <a16:creationId xmlns:a16="http://schemas.microsoft.com/office/drawing/2014/main" id="{FAB8619B-F1E6-4521-9E22-0D3CEA8759F8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1" name="RectangleLegend5" hidden="1">
              <a:extLst>
                <a:ext uri="{FF2B5EF4-FFF2-40B4-BE49-F238E27FC236}">
                  <a16:creationId xmlns:a16="http://schemas.microsoft.com/office/drawing/2014/main" id="{8D948533-5B83-40F8-8781-517651075884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302C6834-F54C-4831-ADFA-02F235341FDE}"/>
                </a:ext>
              </a:extLst>
            </p:cNvPr>
            <p:cNvSpPr txBox="1"/>
            <p:nvPr/>
          </p:nvSpPr>
          <p:spPr>
            <a:xfrm>
              <a:off x="10880916" y="432282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EC6FBE8F-A903-49C0-8342-A96BECECEB20}"/>
                </a:ext>
              </a:extLst>
            </p:cNvPr>
            <p:cNvSpPr txBox="1"/>
            <p:nvPr/>
          </p:nvSpPr>
          <p:spPr>
            <a:xfrm>
              <a:off x="10880916" y="470232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6A01DB5E-072C-4B6F-BE2F-D8A251EDFB8F}"/>
                </a:ext>
              </a:extLst>
            </p:cNvPr>
            <p:cNvSpPr txBox="1"/>
            <p:nvPr/>
          </p:nvSpPr>
          <p:spPr>
            <a:xfrm>
              <a:off x="10880916" y="508182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5" name="Legend4" hidden="1">
              <a:extLst>
                <a:ext uri="{FF2B5EF4-FFF2-40B4-BE49-F238E27FC236}">
                  <a16:creationId xmlns:a16="http://schemas.microsoft.com/office/drawing/2014/main" id="{4DC9FEE7-2AF2-4203-A961-9AAF319A2CA4}"/>
                </a:ext>
              </a:extLst>
            </p:cNvPr>
            <p:cNvSpPr txBox="1"/>
            <p:nvPr/>
          </p:nvSpPr>
          <p:spPr>
            <a:xfrm>
              <a:off x="10880916" y="54532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7" name="Legend5" hidden="1">
              <a:extLst>
                <a:ext uri="{FF2B5EF4-FFF2-40B4-BE49-F238E27FC236}">
                  <a16:creationId xmlns:a16="http://schemas.microsoft.com/office/drawing/2014/main" id="{8E37423E-C69D-4EF6-9F66-ED829DA5F329}"/>
                </a:ext>
              </a:extLst>
            </p:cNvPr>
            <p:cNvSpPr txBox="1"/>
            <p:nvPr/>
          </p:nvSpPr>
          <p:spPr>
            <a:xfrm>
              <a:off x="10880915" y="582466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78" name="LegendLines" hidden="1">
            <a:extLst>
              <a:ext uri="{FF2B5EF4-FFF2-40B4-BE49-F238E27FC236}">
                <a16:creationId xmlns:a16="http://schemas.microsoft.com/office/drawing/2014/main" id="{3F32DBCB-8B73-42E6-8C0E-442DC5455B86}"/>
              </a:ext>
            </a:extLst>
          </p:cNvPr>
          <p:cNvGrpSpPr/>
          <p:nvPr userDrawn="1"/>
        </p:nvGrpSpPr>
        <p:grpSpPr>
          <a:xfrm>
            <a:off x="10317304" y="3355023"/>
            <a:ext cx="1361638" cy="958286"/>
            <a:chOff x="10162879" y="3243772"/>
            <a:chExt cx="1361638" cy="958286"/>
          </a:xfrm>
        </p:grpSpPr>
        <p:sp>
          <p:nvSpPr>
            <p:cNvPr id="179" name="Legend1" hidden="1">
              <a:extLst>
                <a:ext uri="{FF2B5EF4-FFF2-40B4-BE49-F238E27FC236}">
                  <a16:creationId xmlns:a16="http://schemas.microsoft.com/office/drawing/2014/main" id="{4335E21A-533A-4CA2-873A-AB0E900C9C01}"/>
                </a:ext>
              </a:extLst>
            </p:cNvPr>
            <p:cNvSpPr txBox="1"/>
            <p:nvPr/>
          </p:nvSpPr>
          <p:spPr>
            <a:xfrm>
              <a:off x="10886522" y="324377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0" name="Legend2" hidden="1">
              <a:extLst>
                <a:ext uri="{FF2B5EF4-FFF2-40B4-BE49-F238E27FC236}">
                  <a16:creationId xmlns:a16="http://schemas.microsoft.com/office/drawing/2014/main" id="{895CC28C-DA7A-4E7D-B25F-A4226C1E6640}"/>
                </a:ext>
              </a:extLst>
            </p:cNvPr>
            <p:cNvSpPr txBox="1"/>
            <p:nvPr/>
          </p:nvSpPr>
          <p:spPr>
            <a:xfrm>
              <a:off x="10886522" y="3615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3" hidden="1">
              <a:extLst>
                <a:ext uri="{FF2B5EF4-FFF2-40B4-BE49-F238E27FC236}">
                  <a16:creationId xmlns:a16="http://schemas.microsoft.com/office/drawing/2014/main" id="{E169FF43-0E8C-4F8A-A760-EF911E277C7C}"/>
                </a:ext>
              </a:extLst>
            </p:cNvPr>
            <p:cNvSpPr txBox="1"/>
            <p:nvPr/>
          </p:nvSpPr>
          <p:spPr>
            <a:xfrm>
              <a:off x="10886522" y="398661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ineLegend3" hidden="1">
              <a:extLst>
                <a:ext uri="{FF2B5EF4-FFF2-40B4-BE49-F238E27FC236}">
                  <a16:creationId xmlns:a16="http://schemas.microsoft.com/office/drawing/2014/main" id="{96A5FD22-8A07-4A2D-B77C-F5AB05582A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3" name="LineLegend2" hidden="1">
              <a:extLst>
                <a:ext uri="{FF2B5EF4-FFF2-40B4-BE49-F238E27FC236}">
                  <a16:creationId xmlns:a16="http://schemas.microsoft.com/office/drawing/2014/main" id="{3E8976B7-5485-4B4E-A3C4-C4B60D0C510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4" name="LineLegend1" hidden="1">
              <a:extLst>
                <a:ext uri="{FF2B5EF4-FFF2-40B4-BE49-F238E27FC236}">
                  <a16:creationId xmlns:a16="http://schemas.microsoft.com/office/drawing/2014/main" id="{D5E785CB-1322-4DAD-AB76-230342B783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85" name="LegendMoons" hidden="1">
            <a:extLst>
              <a:ext uri="{FF2B5EF4-FFF2-40B4-BE49-F238E27FC236}">
                <a16:creationId xmlns:a16="http://schemas.microsoft.com/office/drawing/2014/main" id="{E24FFCFB-9E39-4704-8A02-0D38890D4AFC}"/>
              </a:ext>
            </a:extLst>
          </p:cNvPr>
          <p:cNvGrpSpPr/>
          <p:nvPr userDrawn="1"/>
        </p:nvGrpSpPr>
        <p:grpSpPr>
          <a:xfrm>
            <a:off x="10688315" y="1415983"/>
            <a:ext cx="990627" cy="1731859"/>
            <a:chOff x="7716535" y="2630582"/>
            <a:chExt cx="990627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C562FA3A-BB30-428D-B503-778C178342D2}"/>
                </a:ext>
              </a:extLst>
            </p:cNvPr>
            <p:cNvSpPr txBox="1"/>
            <p:nvPr/>
          </p:nvSpPr>
          <p:spPr>
            <a:xfrm>
              <a:off x="8069167" y="26379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7" name="Legend2" hidden="1">
              <a:extLst>
                <a:ext uri="{FF2B5EF4-FFF2-40B4-BE49-F238E27FC236}">
                  <a16:creationId xmlns:a16="http://schemas.microsoft.com/office/drawing/2014/main" id="{45824D84-46E5-4C0C-A545-23F0C8FC309B}"/>
                </a:ext>
              </a:extLst>
            </p:cNvPr>
            <p:cNvSpPr txBox="1"/>
            <p:nvPr/>
          </p:nvSpPr>
          <p:spPr>
            <a:xfrm>
              <a:off x="8069167" y="301340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8" name="Legend3" hidden="1">
              <a:extLst>
                <a:ext uri="{FF2B5EF4-FFF2-40B4-BE49-F238E27FC236}">
                  <a16:creationId xmlns:a16="http://schemas.microsoft.com/office/drawing/2014/main" id="{31AC2EF2-8B55-4CD3-9E3E-AC5A5F6793A6}"/>
                </a:ext>
              </a:extLst>
            </p:cNvPr>
            <p:cNvSpPr txBox="1"/>
            <p:nvPr/>
          </p:nvSpPr>
          <p:spPr>
            <a:xfrm>
              <a:off x="8069167" y="3388859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9" name="Legend4" hidden="1">
              <a:extLst>
                <a:ext uri="{FF2B5EF4-FFF2-40B4-BE49-F238E27FC236}">
                  <a16:creationId xmlns:a16="http://schemas.microsoft.com/office/drawing/2014/main" id="{C20E5492-5F59-4556-BB39-B8CC1AB106B9}"/>
                </a:ext>
              </a:extLst>
            </p:cNvPr>
            <p:cNvSpPr txBox="1"/>
            <p:nvPr/>
          </p:nvSpPr>
          <p:spPr>
            <a:xfrm>
              <a:off x="8069167" y="3764318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0" name="Legend5" hidden="1">
              <a:extLst>
                <a:ext uri="{FF2B5EF4-FFF2-40B4-BE49-F238E27FC236}">
                  <a16:creationId xmlns:a16="http://schemas.microsoft.com/office/drawing/2014/main" id="{B432A7B0-F0AA-4FC6-AB43-4215A2EBD54D}"/>
                </a:ext>
              </a:extLst>
            </p:cNvPr>
            <p:cNvSpPr txBox="1"/>
            <p:nvPr/>
          </p:nvSpPr>
          <p:spPr>
            <a:xfrm>
              <a:off x="8069167" y="4139779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91" name="MoonLegend1" hidden="1">
              <a:extLst>
                <a:ext uri="{FF2B5EF4-FFF2-40B4-BE49-F238E27FC236}">
                  <a16:creationId xmlns:a16="http://schemas.microsoft.com/office/drawing/2014/main" id="{7FD1016A-1922-4E8E-9980-D004FE4F48C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17DC8413-C180-4B81-9D52-9751863501EB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42063177-44D9-42ED-A125-33ACA5F492D8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2" name="MoonLegend2" hidden="1">
              <a:extLst>
                <a:ext uri="{FF2B5EF4-FFF2-40B4-BE49-F238E27FC236}">
                  <a16:creationId xmlns:a16="http://schemas.microsoft.com/office/drawing/2014/main" id="{56749283-5AC5-4DB6-9E25-BCEBE2E9107C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02" name="Oval 201" hidden="1">
                <a:extLst>
                  <a:ext uri="{FF2B5EF4-FFF2-40B4-BE49-F238E27FC236}">
                    <a16:creationId xmlns:a16="http://schemas.microsoft.com/office/drawing/2014/main" id="{EF59F868-AA8D-40FF-BE84-03B139897B7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Arc 202" hidden="1">
                <a:extLst>
                  <a:ext uri="{FF2B5EF4-FFF2-40B4-BE49-F238E27FC236}">
                    <a16:creationId xmlns:a16="http://schemas.microsoft.com/office/drawing/2014/main" id="{4F09E111-E75E-43C0-BDD7-2D4CA44BCE56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3" name="MoonLegend3" hidden="1">
              <a:extLst>
                <a:ext uri="{FF2B5EF4-FFF2-40B4-BE49-F238E27FC236}">
                  <a16:creationId xmlns:a16="http://schemas.microsoft.com/office/drawing/2014/main" id="{5D266611-E24B-4EA7-AF5E-0F476FFFAEF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0" name="Oval 199" hidden="1">
                <a:extLst>
                  <a:ext uri="{FF2B5EF4-FFF2-40B4-BE49-F238E27FC236}">
                    <a16:creationId xmlns:a16="http://schemas.microsoft.com/office/drawing/2014/main" id="{8CE33BD5-7B9E-4B17-9C6E-A1FF395A12DE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1" name="Arc 200" hidden="1">
                <a:extLst>
                  <a:ext uri="{FF2B5EF4-FFF2-40B4-BE49-F238E27FC236}">
                    <a16:creationId xmlns:a16="http://schemas.microsoft.com/office/drawing/2014/main" id="{5B405908-FB2A-4660-B76E-51B905818A9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4" name="MoonLegend4" hidden="1">
              <a:extLst>
                <a:ext uri="{FF2B5EF4-FFF2-40B4-BE49-F238E27FC236}">
                  <a16:creationId xmlns:a16="http://schemas.microsoft.com/office/drawing/2014/main" id="{5865B6FC-1C99-4356-9A94-82F53CBB7918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198" name="Oval 197" hidden="1">
                <a:extLst>
                  <a:ext uri="{FF2B5EF4-FFF2-40B4-BE49-F238E27FC236}">
                    <a16:creationId xmlns:a16="http://schemas.microsoft.com/office/drawing/2014/main" id="{AB9007DB-DCD1-411A-82AC-A53F19C87F7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9" name="Arc 198" hidden="1">
                <a:extLst>
                  <a:ext uri="{FF2B5EF4-FFF2-40B4-BE49-F238E27FC236}">
                    <a16:creationId xmlns:a16="http://schemas.microsoft.com/office/drawing/2014/main" id="{B7C1F04A-78F9-4D4D-9675-A7A6658DC0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5" name="MoonLegend5" hidden="1">
              <a:extLst>
                <a:ext uri="{FF2B5EF4-FFF2-40B4-BE49-F238E27FC236}">
                  <a16:creationId xmlns:a16="http://schemas.microsoft.com/office/drawing/2014/main" id="{AF67516A-1E9A-4F1C-B1EC-AB4CB850BCF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196" name="Oval 195" hidden="1">
                <a:extLst>
                  <a:ext uri="{FF2B5EF4-FFF2-40B4-BE49-F238E27FC236}">
                    <a16:creationId xmlns:a16="http://schemas.microsoft.com/office/drawing/2014/main" id="{23D32713-BFBF-4800-99B4-5C2B91C4BB8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Arc 196" hidden="1">
                <a:extLst>
                  <a:ext uri="{FF2B5EF4-FFF2-40B4-BE49-F238E27FC236}">
                    <a16:creationId xmlns:a16="http://schemas.microsoft.com/office/drawing/2014/main" id="{46C194EE-797D-4DBC-AB79-5A90BF07E7C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911" r:id="rId2"/>
    <p:sldLayoutId id="2147483866" r:id="rId3"/>
    <p:sldLayoutId id="2147483898" r:id="rId4"/>
    <p:sldLayoutId id="2147483867" r:id="rId5"/>
    <p:sldLayoutId id="2147483899" r:id="rId6"/>
    <p:sldLayoutId id="2147483868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12" r:id="rId15"/>
    <p:sldLayoutId id="2147483900" r:id="rId16"/>
    <p:sldLayoutId id="2147483870" r:id="rId17"/>
    <p:sldLayoutId id="2147483871" r:id="rId18"/>
    <p:sldLayoutId id="2147483915" r:id="rId19"/>
    <p:sldLayoutId id="2147483916" r:id="rId20"/>
    <p:sldLayoutId id="2147483893" r:id="rId21"/>
    <p:sldLayoutId id="2147483877" r:id="rId22"/>
    <p:sldLayoutId id="2147483908" r:id="rId23"/>
    <p:sldLayoutId id="2147483932" r:id="rId2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1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83" userDrawn="1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0762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413" imgH="416" progId="TCLayout.ActiveDocument.1">
                  <p:embed/>
                </p:oleObj>
              </mc:Choice>
              <mc:Fallback>
                <p:oleObj name="Diapositiva de think-cell" r:id="rId3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25249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964729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87C6EDE4-51FB-4F9D-A2DD-686808A1A2F9}"/>
              </a:ext>
            </a:extLst>
          </p:cNvPr>
          <p:cNvGrpSpPr/>
          <p:nvPr userDrawn="1"/>
        </p:nvGrpSpPr>
        <p:grpSpPr>
          <a:xfrm>
            <a:off x="10317304" y="3355023"/>
            <a:ext cx="1361638" cy="958286"/>
            <a:chOff x="10162879" y="3243772"/>
            <a:chExt cx="1361638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22F001FE-88BD-4E72-ACF9-AF621E1AE7D2}"/>
                </a:ext>
              </a:extLst>
            </p:cNvPr>
            <p:cNvSpPr txBox="1"/>
            <p:nvPr/>
          </p:nvSpPr>
          <p:spPr>
            <a:xfrm>
              <a:off x="10886522" y="324377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5CE86F18-61A8-4DCD-ABAC-0B15BD62E117}"/>
                </a:ext>
              </a:extLst>
            </p:cNvPr>
            <p:cNvSpPr txBox="1"/>
            <p:nvPr/>
          </p:nvSpPr>
          <p:spPr>
            <a:xfrm>
              <a:off x="10886522" y="3615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30CCE3CA-84D6-4432-ADE2-0F6B753C34FD}"/>
                </a:ext>
              </a:extLst>
            </p:cNvPr>
            <p:cNvSpPr txBox="1"/>
            <p:nvPr/>
          </p:nvSpPr>
          <p:spPr>
            <a:xfrm>
              <a:off x="10886522" y="398661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FD14BDBA-DFCE-4F57-AA4E-2880FA4D1F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B9DF4B5-6F14-48CB-B9CE-600BDB1704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44FFACE1-EA9B-4916-B719-78089106EE1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id="{7A818255-5FF7-46DE-A5D6-92983EE23E00}"/>
              </a:ext>
            </a:extLst>
          </p:cNvPr>
          <p:cNvGrpSpPr/>
          <p:nvPr userDrawn="1"/>
        </p:nvGrpSpPr>
        <p:grpSpPr>
          <a:xfrm>
            <a:off x="10688315" y="1415983"/>
            <a:ext cx="990627" cy="1731859"/>
            <a:chOff x="7723680" y="1702457"/>
            <a:chExt cx="99062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id="{CD0C793F-AD0E-46E5-B850-56CF1CA0ABD9}"/>
                </a:ext>
              </a:extLst>
            </p:cNvPr>
            <p:cNvSpPr txBox="1"/>
            <p:nvPr/>
          </p:nvSpPr>
          <p:spPr>
            <a:xfrm>
              <a:off x="8076312" y="1709816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id="{B7EAD5BD-3A5A-4BC7-A399-BFAA0AE18C28}"/>
                </a:ext>
              </a:extLst>
            </p:cNvPr>
            <p:cNvSpPr txBox="1"/>
            <p:nvPr/>
          </p:nvSpPr>
          <p:spPr>
            <a:xfrm>
              <a:off x="8076312" y="2085275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id="{22515723-5223-432C-8341-059BC856ADB3}"/>
                </a:ext>
              </a:extLst>
            </p:cNvPr>
            <p:cNvSpPr txBox="1"/>
            <p:nvPr/>
          </p:nvSpPr>
          <p:spPr>
            <a:xfrm>
              <a:off x="8076312" y="246073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id="{C176E604-7D00-487B-949D-28B22E91313F}"/>
                </a:ext>
              </a:extLst>
            </p:cNvPr>
            <p:cNvSpPr txBox="1"/>
            <p:nvPr/>
          </p:nvSpPr>
          <p:spPr>
            <a:xfrm>
              <a:off x="8076312" y="2836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id="{6EBB621A-2F4C-4F8A-9C7B-B11B4E35A4C8}"/>
                </a:ext>
              </a:extLst>
            </p:cNvPr>
            <p:cNvSpPr txBox="1"/>
            <p:nvPr/>
          </p:nvSpPr>
          <p:spPr>
            <a:xfrm>
              <a:off x="8076312" y="321165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id="{F0608187-6FA4-4ECA-B05C-444806AC3B9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59ED6E42-6934-4E6E-9C4D-04279A65F9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E160F9B-F9EE-40EB-BE49-39F542E1ABA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id="{63D0F8DF-C0E8-4FD1-8A2D-6494E30743C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595F5BDC-8AE8-42F9-97BE-F2629CF5A8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AC411E90-3BF2-42B2-BEF1-70310E9C6F8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id="{1E1899A9-4E8C-46CA-81B3-C09EB42880C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E4846378-117B-47C6-9D44-7CCAC2482B3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911EEADC-90AD-403E-9185-EC112BB6B4F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id="{97143BDD-D948-4B7C-B718-EB1BF8A8489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C94E0620-0124-440C-B787-3C46D9988F0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27D07BC4-8F29-47B3-A7A9-4F38A5CFAD6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id="{8D333D92-2164-4167-B0F6-DACC2D19772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id="{FDB0A9CB-78E6-4549-B287-F1AF32280E7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id="{A630C9B3-C010-49EF-B136-136D9BD2CA0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BA47934C-5733-43F4-B6F6-21380FE2949C}"/>
              </a:ext>
            </a:extLst>
          </p:cNvPr>
          <p:cNvGrpSpPr/>
          <p:nvPr userDrawn="1"/>
        </p:nvGrpSpPr>
        <p:grpSpPr>
          <a:xfrm>
            <a:off x="10714801" y="4520490"/>
            <a:ext cx="964141" cy="1717282"/>
            <a:chOff x="10652400" y="4322824"/>
            <a:chExt cx="964141" cy="1717282"/>
          </a:xfrm>
        </p:grpSpPr>
        <p:sp>
          <p:nvSpPr>
            <p:cNvPr id="188" name="RectangleLegend1" hidden="1">
              <a:extLst>
                <a:ext uri="{FF2B5EF4-FFF2-40B4-BE49-F238E27FC236}">
                  <a16:creationId xmlns:a16="http://schemas.microsoft.com/office/drawing/2014/main" id="{4F488EDB-5556-4511-8A96-E1338F5E464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 hidden="1">
              <a:extLst>
                <a:ext uri="{FF2B5EF4-FFF2-40B4-BE49-F238E27FC236}">
                  <a16:creationId xmlns:a16="http://schemas.microsoft.com/office/drawing/2014/main" id="{0423580E-1E98-4AB7-8FF8-1B253BAF8BF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 hidden="1">
              <a:extLst>
                <a:ext uri="{FF2B5EF4-FFF2-40B4-BE49-F238E27FC236}">
                  <a16:creationId xmlns:a16="http://schemas.microsoft.com/office/drawing/2014/main" id="{16EA4BF8-E1EF-4EAF-92FC-AA1EB7E977E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 hidden="1">
              <a:extLst>
                <a:ext uri="{FF2B5EF4-FFF2-40B4-BE49-F238E27FC236}">
                  <a16:creationId xmlns:a16="http://schemas.microsoft.com/office/drawing/2014/main" id="{4DC24EA8-A23C-42EA-9725-4A5316E16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 hidden="1">
              <a:extLst>
                <a:ext uri="{FF2B5EF4-FFF2-40B4-BE49-F238E27FC236}">
                  <a16:creationId xmlns:a16="http://schemas.microsoft.com/office/drawing/2014/main" id="{60A82744-7E03-4D44-8491-F70D356007A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 hidden="1">
              <a:extLst>
                <a:ext uri="{FF2B5EF4-FFF2-40B4-BE49-F238E27FC236}">
                  <a16:creationId xmlns:a16="http://schemas.microsoft.com/office/drawing/2014/main" id="{E5D4A419-6B52-4363-81C4-0083A290484A}"/>
                </a:ext>
              </a:extLst>
            </p:cNvPr>
            <p:cNvSpPr txBox="1"/>
            <p:nvPr/>
          </p:nvSpPr>
          <p:spPr>
            <a:xfrm>
              <a:off x="10978546" y="432282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 hidden="1">
              <a:extLst>
                <a:ext uri="{FF2B5EF4-FFF2-40B4-BE49-F238E27FC236}">
                  <a16:creationId xmlns:a16="http://schemas.microsoft.com/office/drawing/2014/main" id="{5349D377-39CD-4A6D-AFF2-1B42523C5B8D}"/>
                </a:ext>
              </a:extLst>
            </p:cNvPr>
            <p:cNvSpPr txBox="1"/>
            <p:nvPr/>
          </p:nvSpPr>
          <p:spPr>
            <a:xfrm>
              <a:off x="10978546" y="470232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 hidden="1">
              <a:extLst>
                <a:ext uri="{FF2B5EF4-FFF2-40B4-BE49-F238E27FC236}">
                  <a16:creationId xmlns:a16="http://schemas.microsoft.com/office/drawing/2014/main" id="{C15EE519-AE85-43F0-9B2E-D80728D1620D}"/>
                </a:ext>
              </a:extLst>
            </p:cNvPr>
            <p:cNvSpPr txBox="1"/>
            <p:nvPr/>
          </p:nvSpPr>
          <p:spPr>
            <a:xfrm>
              <a:off x="10978546" y="508182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 hidden="1">
              <a:extLst>
                <a:ext uri="{FF2B5EF4-FFF2-40B4-BE49-F238E27FC236}">
                  <a16:creationId xmlns:a16="http://schemas.microsoft.com/office/drawing/2014/main" id="{9867F306-733F-4CFD-A888-629E1CF506B6}"/>
                </a:ext>
              </a:extLst>
            </p:cNvPr>
            <p:cNvSpPr txBox="1"/>
            <p:nvPr/>
          </p:nvSpPr>
          <p:spPr>
            <a:xfrm>
              <a:off x="10978546" y="54532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 hidden="1">
              <a:extLst>
                <a:ext uri="{FF2B5EF4-FFF2-40B4-BE49-F238E27FC236}">
                  <a16:creationId xmlns:a16="http://schemas.microsoft.com/office/drawing/2014/main" id="{B3D9300D-CCDE-495A-9E6F-BD5EFE160B13}"/>
                </a:ext>
              </a:extLst>
            </p:cNvPr>
            <p:cNvSpPr txBox="1"/>
            <p:nvPr/>
          </p:nvSpPr>
          <p:spPr>
            <a:xfrm>
              <a:off x="10978545" y="582466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8470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3" r:id="rId12"/>
    <p:sldLayoutId id="2147483931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90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0762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413" imgH="416" progId="TCLayout.ActiveDocument.1">
                  <p:embed/>
                </p:oleObj>
              </mc:Choice>
              <mc:Fallback>
                <p:oleObj name="Diapositiva de think-cell" r:id="rId3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25249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964729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87C6EDE4-51FB-4F9D-A2DD-686808A1A2F9}"/>
              </a:ext>
            </a:extLst>
          </p:cNvPr>
          <p:cNvGrpSpPr/>
          <p:nvPr userDrawn="1"/>
        </p:nvGrpSpPr>
        <p:grpSpPr>
          <a:xfrm>
            <a:off x="10317304" y="3355023"/>
            <a:ext cx="1361638" cy="958286"/>
            <a:chOff x="10162879" y="3243772"/>
            <a:chExt cx="1361638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22F001FE-88BD-4E72-ACF9-AF621E1AE7D2}"/>
                </a:ext>
              </a:extLst>
            </p:cNvPr>
            <p:cNvSpPr txBox="1"/>
            <p:nvPr/>
          </p:nvSpPr>
          <p:spPr>
            <a:xfrm>
              <a:off x="10886522" y="324377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5CE86F18-61A8-4DCD-ABAC-0B15BD62E117}"/>
                </a:ext>
              </a:extLst>
            </p:cNvPr>
            <p:cNvSpPr txBox="1"/>
            <p:nvPr/>
          </p:nvSpPr>
          <p:spPr>
            <a:xfrm>
              <a:off x="10886522" y="3615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30CCE3CA-84D6-4432-ADE2-0F6B753C34FD}"/>
                </a:ext>
              </a:extLst>
            </p:cNvPr>
            <p:cNvSpPr txBox="1"/>
            <p:nvPr/>
          </p:nvSpPr>
          <p:spPr>
            <a:xfrm>
              <a:off x="10886522" y="398661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FD14BDBA-DFCE-4F57-AA4E-2880FA4D1F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B9DF4B5-6F14-48CB-B9CE-600BDB1704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44FFACE1-EA9B-4916-B719-78089106EE1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id="{7A818255-5FF7-46DE-A5D6-92983EE23E00}"/>
              </a:ext>
            </a:extLst>
          </p:cNvPr>
          <p:cNvGrpSpPr/>
          <p:nvPr userDrawn="1"/>
        </p:nvGrpSpPr>
        <p:grpSpPr>
          <a:xfrm>
            <a:off x="10688315" y="1415983"/>
            <a:ext cx="990627" cy="1731859"/>
            <a:chOff x="7723680" y="1702457"/>
            <a:chExt cx="99062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id="{CD0C793F-AD0E-46E5-B850-56CF1CA0ABD9}"/>
                </a:ext>
              </a:extLst>
            </p:cNvPr>
            <p:cNvSpPr txBox="1"/>
            <p:nvPr/>
          </p:nvSpPr>
          <p:spPr>
            <a:xfrm>
              <a:off x="8076312" y="1709816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id="{B7EAD5BD-3A5A-4BC7-A399-BFAA0AE18C28}"/>
                </a:ext>
              </a:extLst>
            </p:cNvPr>
            <p:cNvSpPr txBox="1"/>
            <p:nvPr/>
          </p:nvSpPr>
          <p:spPr>
            <a:xfrm>
              <a:off x="8076312" y="2085275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id="{22515723-5223-432C-8341-059BC856ADB3}"/>
                </a:ext>
              </a:extLst>
            </p:cNvPr>
            <p:cNvSpPr txBox="1"/>
            <p:nvPr/>
          </p:nvSpPr>
          <p:spPr>
            <a:xfrm>
              <a:off x="8076312" y="246073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id="{C176E604-7D00-487B-949D-28B22E91313F}"/>
                </a:ext>
              </a:extLst>
            </p:cNvPr>
            <p:cNvSpPr txBox="1"/>
            <p:nvPr/>
          </p:nvSpPr>
          <p:spPr>
            <a:xfrm>
              <a:off x="8076312" y="2836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id="{6EBB621A-2F4C-4F8A-9C7B-B11B4E35A4C8}"/>
                </a:ext>
              </a:extLst>
            </p:cNvPr>
            <p:cNvSpPr txBox="1"/>
            <p:nvPr/>
          </p:nvSpPr>
          <p:spPr>
            <a:xfrm>
              <a:off x="8076312" y="321165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id="{F0608187-6FA4-4ECA-B05C-444806AC3B9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59ED6E42-6934-4E6E-9C4D-04279A65F9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E160F9B-F9EE-40EB-BE49-39F542E1ABA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id="{63D0F8DF-C0E8-4FD1-8A2D-6494E30743C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595F5BDC-8AE8-42F9-97BE-F2629CF5A8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AC411E90-3BF2-42B2-BEF1-70310E9C6F8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id="{1E1899A9-4E8C-46CA-81B3-C09EB42880C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E4846378-117B-47C6-9D44-7CCAC2482B3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911EEADC-90AD-403E-9185-EC112BB6B4F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id="{97143BDD-D948-4B7C-B718-EB1BF8A8489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C94E0620-0124-440C-B787-3C46D9988F0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27D07BC4-8F29-47B3-A7A9-4F38A5CFAD6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id="{8D333D92-2164-4167-B0F6-DACC2D19772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id="{FDB0A9CB-78E6-4549-B287-F1AF32280E7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id="{A630C9B3-C010-49EF-B136-136D9BD2CA0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BA47934C-5733-43F4-B6F6-21380FE2949C}"/>
              </a:ext>
            </a:extLst>
          </p:cNvPr>
          <p:cNvGrpSpPr/>
          <p:nvPr userDrawn="1"/>
        </p:nvGrpSpPr>
        <p:grpSpPr>
          <a:xfrm>
            <a:off x="10714801" y="4520490"/>
            <a:ext cx="964141" cy="1717282"/>
            <a:chOff x="10652400" y="4322824"/>
            <a:chExt cx="964141" cy="1717282"/>
          </a:xfrm>
        </p:grpSpPr>
        <p:sp>
          <p:nvSpPr>
            <p:cNvPr id="188" name="RectangleLegend1" hidden="1">
              <a:extLst>
                <a:ext uri="{FF2B5EF4-FFF2-40B4-BE49-F238E27FC236}">
                  <a16:creationId xmlns:a16="http://schemas.microsoft.com/office/drawing/2014/main" id="{4F488EDB-5556-4511-8A96-E1338F5E464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 hidden="1">
              <a:extLst>
                <a:ext uri="{FF2B5EF4-FFF2-40B4-BE49-F238E27FC236}">
                  <a16:creationId xmlns:a16="http://schemas.microsoft.com/office/drawing/2014/main" id="{0423580E-1E98-4AB7-8FF8-1B253BAF8BF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 hidden="1">
              <a:extLst>
                <a:ext uri="{FF2B5EF4-FFF2-40B4-BE49-F238E27FC236}">
                  <a16:creationId xmlns:a16="http://schemas.microsoft.com/office/drawing/2014/main" id="{16EA4BF8-E1EF-4EAF-92FC-AA1EB7E977E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 hidden="1">
              <a:extLst>
                <a:ext uri="{FF2B5EF4-FFF2-40B4-BE49-F238E27FC236}">
                  <a16:creationId xmlns:a16="http://schemas.microsoft.com/office/drawing/2014/main" id="{4DC24EA8-A23C-42EA-9725-4A5316E16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 hidden="1">
              <a:extLst>
                <a:ext uri="{FF2B5EF4-FFF2-40B4-BE49-F238E27FC236}">
                  <a16:creationId xmlns:a16="http://schemas.microsoft.com/office/drawing/2014/main" id="{60A82744-7E03-4D44-8491-F70D356007A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 hidden="1">
              <a:extLst>
                <a:ext uri="{FF2B5EF4-FFF2-40B4-BE49-F238E27FC236}">
                  <a16:creationId xmlns:a16="http://schemas.microsoft.com/office/drawing/2014/main" id="{E5D4A419-6B52-4363-81C4-0083A290484A}"/>
                </a:ext>
              </a:extLst>
            </p:cNvPr>
            <p:cNvSpPr txBox="1"/>
            <p:nvPr/>
          </p:nvSpPr>
          <p:spPr>
            <a:xfrm>
              <a:off x="10978546" y="432282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 hidden="1">
              <a:extLst>
                <a:ext uri="{FF2B5EF4-FFF2-40B4-BE49-F238E27FC236}">
                  <a16:creationId xmlns:a16="http://schemas.microsoft.com/office/drawing/2014/main" id="{5349D377-39CD-4A6D-AFF2-1B42523C5B8D}"/>
                </a:ext>
              </a:extLst>
            </p:cNvPr>
            <p:cNvSpPr txBox="1"/>
            <p:nvPr/>
          </p:nvSpPr>
          <p:spPr>
            <a:xfrm>
              <a:off x="10978546" y="470232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 hidden="1">
              <a:extLst>
                <a:ext uri="{FF2B5EF4-FFF2-40B4-BE49-F238E27FC236}">
                  <a16:creationId xmlns:a16="http://schemas.microsoft.com/office/drawing/2014/main" id="{C15EE519-AE85-43F0-9B2E-D80728D1620D}"/>
                </a:ext>
              </a:extLst>
            </p:cNvPr>
            <p:cNvSpPr txBox="1"/>
            <p:nvPr/>
          </p:nvSpPr>
          <p:spPr>
            <a:xfrm>
              <a:off x="10978546" y="508182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 hidden="1">
              <a:extLst>
                <a:ext uri="{FF2B5EF4-FFF2-40B4-BE49-F238E27FC236}">
                  <a16:creationId xmlns:a16="http://schemas.microsoft.com/office/drawing/2014/main" id="{9867F306-733F-4CFD-A888-629E1CF506B6}"/>
                </a:ext>
              </a:extLst>
            </p:cNvPr>
            <p:cNvSpPr txBox="1"/>
            <p:nvPr/>
          </p:nvSpPr>
          <p:spPr>
            <a:xfrm>
              <a:off x="10978546" y="54532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 hidden="1">
              <a:extLst>
                <a:ext uri="{FF2B5EF4-FFF2-40B4-BE49-F238E27FC236}">
                  <a16:creationId xmlns:a16="http://schemas.microsoft.com/office/drawing/2014/main" id="{B3D9300D-CCDE-495A-9E6F-BD5EFE160B13}"/>
                </a:ext>
              </a:extLst>
            </p:cNvPr>
            <p:cNvSpPr txBox="1"/>
            <p:nvPr/>
          </p:nvSpPr>
          <p:spPr>
            <a:xfrm>
              <a:off x="10978545" y="582466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9999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90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1.png"/><Relationship Id="rId18" Type="http://schemas.openxmlformats.org/officeDocument/2006/relationships/image" Target="../media/image25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0.jpe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6" Type="http://schemas.microsoft.com/office/2007/relationships/hdphoto" Target="../media/hdphoto2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svg"/><Relationship Id="rId11" Type="http://schemas.openxmlformats.org/officeDocument/2006/relationships/image" Target="../media/image19.jpe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3.sv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1.png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5A867366-5A34-6516-1FA8-EE30112B347C}"/>
              </a:ext>
            </a:extLst>
          </p:cNvPr>
          <p:cNvGrpSpPr/>
          <p:nvPr/>
        </p:nvGrpSpPr>
        <p:grpSpPr>
          <a:xfrm>
            <a:off x="3935379" y="-1493237"/>
            <a:ext cx="12136698" cy="7633391"/>
            <a:chOff x="5655090" y="-522464"/>
            <a:chExt cx="12611594" cy="18555538"/>
          </a:xfrm>
          <a:blipFill dpi="0" rotWithShape="1">
            <a:blip r:embed="rId3"/>
            <a:srcRect/>
            <a:stretch>
              <a:fillRect/>
            </a:stretch>
          </a:blip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B454537-E82D-E891-FD5A-4F646540F86E}"/>
                </a:ext>
              </a:extLst>
            </p:cNvPr>
            <p:cNvGrpSpPr/>
            <p:nvPr/>
          </p:nvGrpSpPr>
          <p:grpSpPr>
            <a:xfrm rot="19157172">
              <a:off x="5655090" y="-522464"/>
              <a:ext cx="7589556" cy="4885697"/>
              <a:chOff x="4254074" y="-1428960"/>
              <a:chExt cx="7589556" cy="4885697"/>
            </a:xfrm>
            <a:grpFill/>
          </p:grpSpPr>
          <p:sp>
            <p:nvSpPr>
              <p:cNvPr id="9" name="Flowchart: Terminator 8">
                <a:extLst>
                  <a:ext uri="{FF2B5EF4-FFF2-40B4-BE49-F238E27FC236}">
                    <a16:creationId xmlns:a16="http://schemas.microsoft.com/office/drawing/2014/main" id="{45EE6ED6-C604-C78E-92F2-876B96BB6D36}"/>
                  </a:ext>
                </a:extLst>
              </p:cNvPr>
              <p:cNvSpPr/>
              <p:nvPr/>
            </p:nvSpPr>
            <p:spPr>
              <a:xfrm>
                <a:off x="6372025" y="-1428960"/>
                <a:ext cx="5471605" cy="4885697"/>
              </a:xfrm>
              <a:prstGeom prst="flowChartTerminator">
                <a:avLst/>
              </a:pr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s-E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2509DF7-8F0D-C314-6824-311B05C6F2C5}"/>
                  </a:ext>
                </a:extLst>
              </p:cNvPr>
              <p:cNvSpPr/>
              <p:nvPr/>
            </p:nvSpPr>
            <p:spPr>
              <a:xfrm>
                <a:off x="4254074" y="-1304523"/>
                <a:ext cx="2077357" cy="4703292"/>
              </a:xfrm>
              <a:prstGeom prst="ellipse">
                <a:avLst/>
              </a:pr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s-ES" sz="16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" name="Flowchart: Terminator 6">
              <a:extLst>
                <a:ext uri="{FF2B5EF4-FFF2-40B4-BE49-F238E27FC236}">
                  <a16:creationId xmlns:a16="http://schemas.microsoft.com/office/drawing/2014/main" id="{7F2613CB-7173-DA4E-9E91-BFA561689401}"/>
                </a:ext>
              </a:extLst>
            </p:cNvPr>
            <p:cNvSpPr/>
            <p:nvPr/>
          </p:nvSpPr>
          <p:spPr>
            <a:xfrm rot="19157172">
              <a:off x="12096675" y="13897871"/>
              <a:ext cx="5471604" cy="4135203"/>
            </a:xfrm>
            <a:prstGeom prst="flowChartTerminator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>
                <a:solidFill>
                  <a:schemeClr val="bg1"/>
                </a:solidFill>
              </a:endParaRPr>
            </a:p>
          </p:txBody>
        </p:sp>
        <p:sp>
          <p:nvSpPr>
            <p:cNvPr id="8" name="Flowchart: Terminator 7">
              <a:extLst>
                <a:ext uri="{FF2B5EF4-FFF2-40B4-BE49-F238E27FC236}">
                  <a16:creationId xmlns:a16="http://schemas.microsoft.com/office/drawing/2014/main" id="{E0F74ED6-2646-00B2-AA46-E4785F7993A8}"/>
                </a:ext>
              </a:extLst>
            </p:cNvPr>
            <p:cNvSpPr/>
            <p:nvPr/>
          </p:nvSpPr>
          <p:spPr>
            <a:xfrm rot="19157172">
              <a:off x="6137779" y="3455858"/>
              <a:ext cx="9789944" cy="6016599"/>
            </a:xfrm>
            <a:prstGeom prst="flowChartTerminator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>
                <a:solidFill>
                  <a:schemeClr val="bg1"/>
                </a:solidFill>
              </a:endParaRPr>
            </a:p>
          </p:txBody>
        </p:sp>
        <p:sp>
          <p:nvSpPr>
            <p:cNvPr id="12" name="Flowchart: Terminator 11">
              <a:extLst>
                <a:ext uri="{FF2B5EF4-FFF2-40B4-BE49-F238E27FC236}">
                  <a16:creationId xmlns:a16="http://schemas.microsoft.com/office/drawing/2014/main" id="{0873837E-7BD8-C796-421E-795BA6C0A6AF}"/>
                </a:ext>
              </a:extLst>
            </p:cNvPr>
            <p:cNvSpPr/>
            <p:nvPr/>
          </p:nvSpPr>
          <p:spPr>
            <a:xfrm rot="19157172">
              <a:off x="8476740" y="7995356"/>
              <a:ext cx="9789944" cy="6016599"/>
            </a:xfrm>
            <a:prstGeom prst="flowChartTerminator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>
                <a:solidFill>
                  <a:schemeClr val="bg1"/>
                </a:solidFill>
              </a:endParaRPr>
            </a:p>
          </p:txBody>
        </p:sp>
      </p:grpSp>
      <p:sp>
        <p:nvSpPr>
          <p:cNvPr id="13" name="Title 3">
            <a:extLst>
              <a:ext uri="{FF2B5EF4-FFF2-40B4-BE49-F238E27FC236}">
                <a16:creationId xmlns:a16="http://schemas.microsoft.com/office/drawing/2014/main" id="{A956E2BB-39BB-E6B1-240F-E223163E154B}"/>
              </a:ext>
            </a:extLst>
          </p:cNvPr>
          <p:cNvSpPr txBox="1">
            <a:spLocks/>
          </p:cNvSpPr>
          <p:nvPr/>
        </p:nvSpPr>
        <p:spPr>
          <a:xfrm>
            <a:off x="611787" y="3886989"/>
            <a:ext cx="9049048" cy="240727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6000" b="0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s-ES" sz="4400" b="1" dirty="0">
                <a:solidFill>
                  <a:schemeClr val="bg1"/>
                </a:solidFill>
                <a:latin typeface="FT Base Book"/>
              </a:rPr>
              <a:t>EDP Redes España</a:t>
            </a:r>
            <a:br>
              <a:rPr lang="es-ES" sz="3000" b="1" dirty="0">
                <a:solidFill>
                  <a:schemeClr val="bg1"/>
                </a:solidFill>
                <a:latin typeface="Mulish"/>
              </a:rPr>
            </a:br>
            <a:r>
              <a:rPr lang="es-ES" sz="3000" b="1" dirty="0">
                <a:solidFill>
                  <a:schemeClr val="bg1"/>
                </a:solidFill>
                <a:latin typeface="Mulish"/>
              </a:rPr>
              <a:t>Proyecto de Mejora de la Red de Distribución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s-ES" sz="3000" b="1" dirty="0">
                <a:solidFill>
                  <a:schemeClr val="bg1"/>
                </a:solidFill>
                <a:latin typeface="Mulish"/>
              </a:rPr>
              <a:t>Optimización diseño redes de distribución de </a:t>
            </a:r>
            <a:r>
              <a:rPr lang="es-ES" sz="3000" b="1">
                <a:solidFill>
                  <a:schemeClr val="bg1"/>
                </a:solidFill>
                <a:latin typeface="Mulish"/>
              </a:rPr>
              <a:t>energía eléctrica basado </a:t>
            </a:r>
            <a:r>
              <a:rPr lang="es-ES" sz="3000" b="1" dirty="0">
                <a:solidFill>
                  <a:schemeClr val="bg1"/>
                </a:solidFill>
                <a:latin typeface="Mulish"/>
              </a:rPr>
              <a:t>en crucetas aislantes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s-ES" sz="3000" dirty="0">
                <a:solidFill>
                  <a:schemeClr val="bg1"/>
                </a:solidFill>
                <a:latin typeface="Mulish"/>
              </a:rPr>
              <a:t>Premios </a:t>
            </a:r>
            <a:r>
              <a:rPr lang="es-ES" sz="3000" dirty="0" err="1">
                <a:solidFill>
                  <a:schemeClr val="bg1"/>
                </a:solidFill>
                <a:latin typeface="Mulish"/>
              </a:rPr>
              <a:t>enerTIC</a:t>
            </a:r>
            <a:r>
              <a:rPr lang="es-ES" sz="3000" dirty="0">
                <a:solidFill>
                  <a:schemeClr val="bg1"/>
                </a:solidFill>
                <a:latin typeface="Mulish"/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1188899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75142-B5A6-BAEA-D3D8-36C4CA7FC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EC3CCEC3-C7B5-FB3F-E5BB-CF2C8C9C4733}"/>
              </a:ext>
            </a:extLst>
          </p:cNvPr>
          <p:cNvGrpSpPr/>
          <p:nvPr/>
        </p:nvGrpSpPr>
        <p:grpSpPr>
          <a:xfrm>
            <a:off x="0" y="5283529"/>
            <a:ext cx="12192000" cy="1446327"/>
            <a:chOff x="0" y="5283529"/>
            <a:chExt cx="12192000" cy="1446327"/>
          </a:xfrm>
        </p:grpSpPr>
        <p:sp>
          <p:nvSpPr>
            <p:cNvPr id="252" name="Rectangle: Rounded Corners 36">
              <a:extLst>
                <a:ext uri="{FF2B5EF4-FFF2-40B4-BE49-F238E27FC236}">
                  <a16:creationId xmlns:a16="http://schemas.microsoft.com/office/drawing/2014/main" id="{412C6988-43D6-B641-42C0-3F385A92A8AF}"/>
                </a:ext>
              </a:extLst>
            </p:cNvPr>
            <p:cNvSpPr/>
            <p:nvPr/>
          </p:nvSpPr>
          <p:spPr>
            <a:xfrm>
              <a:off x="0" y="5390294"/>
              <a:ext cx="12192000" cy="1339562"/>
            </a:xfrm>
            <a:prstGeom prst="roundRect">
              <a:avLst>
                <a:gd name="adj" fmla="val 0"/>
              </a:avLst>
            </a:prstGeom>
            <a:solidFill>
              <a:srgbClr val="BBC9DB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96000" tIns="45720" rIns="360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200" b="1" dirty="0">
                <a:solidFill>
                  <a:srgbClr val="212E3E"/>
                </a:solidFill>
                <a:latin typeface="+mj-lt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5C8ABE39-D19E-9456-FA9B-7874175A9556}"/>
                </a:ext>
              </a:extLst>
            </p:cNvPr>
            <p:cNvGrpSpPr/>
            <p:nvPr/>
          </p:nvGrpSpPr>
          <p:grpSpPr>
            <a:xfrm>
              <a:off x="4867372" y="5283529"/>
              <a:ext cx="2457256" cy="454078"/>
              <a:chOff x="4614110" y="5283529"/>
              <a:chExt cx="2457256" cy="454078"/>
            </a:xfrm>
          </p:grpSpPr>
          <p:sp>
            <p:nvSpPr>
              <p:cNvPr id="34" name="Google Shape;214;p18">
                <a:extLst>
                  <a:ext uri="{FF2B5EF4-FFF2-40B4-BE49-F238E27FC236}">
                    <a16:creationId xmlns:a16="http://schemas.microsoft.com/office/drawing/2014/main" id="{BF0D8172-6D58-E690-46A2-A44071CDCAF3}"/>
                  </a:ext>
                </a:extLst>
              </p:cNvPr>
              <p:cNvSpPr/>
              <p:nvPr/>
            </p:nvSpPr>
            <p:spPr>
              <a:xfrm>
                <a:off x="4614110" y="5283529"/>
                <a:ext cx="2457256" cy="454078"/>
              </a:xfrm>
              <a:prstGeom prst="roundRect">
                <a:avLst>
                  <a:gd name="adj" fmla="val 50000"/>
                </a:avLst>
              </a:prstGeom>
              <a:solidFill>
                <a:srgbClr val="BBC9DB"/>
              </a:solidFill>
              <a:ln>
                <a:solidFill>
                  <a:srgbClr val="BBC9DB"/>
                </a:solidFill>
              </a:ln>
            </p:spPr>
            <p:txBody>
              <a:bodyPr spcFirstLastPara="1" wrap="square" lIns="64007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Google Shape;303;p20">
                <a:extLst>
                  <a:ext uri="{FF2B5EF4-FFF2-40B4-BE49-F238E27FC236}">
                    <a16:creationId xmlns:a16="http://schemas.microsoft.com/office/drawing/2014/main" id="{27DD2E84-955B-AA62-59DC-687166B92F30}"/>
                  </a:ext>
                </a:extLst>
              </p:cNvPr>
              <p:cNvSpPr txBox="1"/>
              <p:nvPr/>
            </p:nvSpPr>
            <p:spPr>
              <a:xfrm>
                <a:off x="4632674" y="5322993"/>
                <a:ext cx="2420128" cy="3751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r>
                  <a:rPr lang="es-ES" sz="2400" b="1" dirty="0">
                    <a:solidFill>
                      <a:srgbClr val="212E3E"/>
                    </a:solidFill>
                    <a:latin typeface="+mj-lt"/>
                    <a:ea typeface="Fira Sans Extra Condensed Medium"/>
                    <a:cs typeface="Fira Sans Extra Condensed Medium"/>
                    <a:sym typeface="Fira Sans Extra Condensed Medium"/>
                  </a:rPr>
                  <a:t>BENEFICIOS</a:t>
                </a:r>
              </a:p>
            </p:txBody>
          </p:sp>
        </p:grpSp>
      </p:grpSp>
      <p:sp>
        <p:nvSpPr>
          <p:cNvPr id="21" name="Title 3">
            <a:extLst>
              <a:ext uri="{FF2B5EF4-FFF2-40B4-BE49-F238E27FC236}">
                <a16:creationId xmlns:a16="http://schemas.microsoft.com/office/drawing/2014/main" id="{340E6088-FF10-3BEA-D38F-ACE16708E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3"/>
            <a:ext cx="11082528" cy="369332"/>
          </a:xfrm>
        </p:spPr>
        <p:txBody>
          <a:bodyPr/>
          <a:lstStyle/>
          <a:p>
            <a:r>
              <a:rPr lang="es-ES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Proyecto de Mejora de la Red de Distribución – EDP Redes Españ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4D2E51-4AC3-283B-1031-4BC560EAE832}"/>
              </a:ext>
            </a:extLst>
          </p:cNvPr>
          <p:cNvSpPr txBox="1"/>
          <p:nvPr/>
        </p:nvSpPr>
        <p:spPr>
          <a:xfrm>
            <a:off x="-1" y="931996"/>
            <a:ext cx="12192000" cy="3385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447675"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s-ES_tradnl" sz="1600" b="1" dirty="0">
                <a:latin typeface="FT Base Semibold"/>
              </a:rPr>
              <a:t>Mejora ingeniería red aérea mediante crucetas aislantes</a:t>
            </a:r>
          </a:p>
        </p:txBody>
      </p:sp>
      <p:sp>
        <p:nvSpPr>
          <p:cNvPr id="75" name="Rectángulo 5">
            <a:extLst>
              <a:ext uri="{FF2B5EF4-FFF2-40B4-BE49-F238E27FC236}">
                <a16:creationId xmlns:a16="http://schemas.microsoft.com/office/drawing/2014/main" id="{745FED31-2344-70D2-2F10-58ABD9A1CCD0}"/>
              </a:ext>
            </a:extLst>
          </p:cNvPr>
          <p:cNvSpPr/>
          <p:nvPr/>
        </p:nvSpPr>
        <p:spPr>
          <a:xfrm>
            <a:off x="9463889" y="974114"/>
            <a:ext cx="2613457" cy="23825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200" b="1" dirty="0">
                <a:solidFill>
                  <a:schemeClr val="tx1"/>
                </a:solidFill>
              </a:rPr>
              <a:t>Fecha fin: </a:t>
            </a:r>
            <a:r>
              <a:rPr lang="es-ES" sz="1200" dirty="0">
                <a:solidFill>
                  <a:schemeClr val="tx1"/>
                </a:solidFill>
              </a:rPr>
              <a:t>Nov 2025</a:t>
            </a:r>
          </a:p>
        </p:txBody>
      </p:sp>
      <p:sp>
        <p:nvSpPr>
          <p:cNvPr id="76" name="Rectángulo 5">
            <a:extLst>
              <a:ext uri="{FF2B5EF4-FFF2-40B4-BE49-F238E27FC236}">
                <a16:creationId xmlns:a16="http://schemas.microsoft.com/office/drawing/2014/main" id="{1CD896E8-4525-1BA2-C600-D3CC86D7C387}"/>
              </a:ext>
            </a:extLst>
          </p:cNvPr>
          <p:cNvSpPr/>
          <p:nvPr/>
        </p:nvSpPr>
        <p:spPr>
          <a:xfrm>
            <a:off x="7964836" y="974114"/>
            <a:ext cx="2613457" cy="23825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200" b="1" dirty="0">
                <a:solidFill>
                  <a:schemeClr val="tx1"/>
                </a:solidFill>
              </a:rPr>
              <a:t>Fecha inicio: </a:t>
            </a:r>
            <a:r>
              <a:rPr lang="es-ES" sz="1200" dirty="0">
                <a:solidFill>
                  <a:schemeClr val="tx1"/>
                </a:solidFill>
              </a:rPr>
              <a:t>Dic 2024</a:t>
            </a:r>
          </a:p>
        </p:txBody>
      </p:sp>
      <p:sp>
        <p:nvSpPr>
          <p:cNvPr id="3" name="Rectángulo 5">
            <a:extLst>
              <a:ext uri="{FF2B5EF4-FFF2-40B4-BE49-F238E27FC236}">
                <a16:creationId xmlns:a16="http://schemas.microsoft.com/office/drawing/2014/main" id="{209922CC-17BF-8543-48EF-A18020AB0E08}"/>
              </a:ext>
            </a:extLst>
          </p:cNvPr>
          <p:cNvSpPr/>
          <p:nvPr/>
        </p:nvSpPr>
        <p:spPr>
          <a:xfrm>
            <a:off x="7079910" y="998892"/>
            <a:ext cx="1681144" cy="206124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400" dirty="0">
                <a:solidFill>
                  <a:schemeClr val="tx1"/>
                </a:solidFill>
              </a:rPr>
              <a:t>Estíbaliz Palacios</a:t>
            </a:r>
          </a:p>
        </p:txBody>
      </p:sp>
      <p:sp>
        <p:nvSpPr>
          <p:cNvPr id="107" name="Google Shape;302;p20">
            <a:extLst>
              <a:ext uri="{FF2B5EF4-FFF2-40B4-BE49-F238E27FC236}">
                <a16:creationId xmlns:a16="http://schemas.microsoft.com/office/drawing/2014/main" id="{53188E5B-C697-2F1E-0B28-1FE5DB73C906}"/>
              </a:ext>
            </a:extLst>
          </p:cNvPr>
          <p:cNvSpPr/>
          <p:nvPr/>
        </p:nvSpPr>
        <p:spPr>
          <a:xfrm rot="16200000">
            <a:off x="1182650" y="2145834"/>
            <a:ext cx="360000" cy="216000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12E3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8" name="Google Shape;303;p20">
            <a:extLst>
              <a:ext uri="{FF2B5EF4-FFF2-40B4-BE49-F238E27FC236}">
                <a16:creationId xmlns:a16="http://schemas.microsoft.com/office/drawing/2014/main" id="{754CEC72-C89D-2CBF-16BD-9CD7FBFF692A}"/>
              </a:ext>
            </a:extLst>
          </p:cNvPr>
          <p:cNvSpPr txBox="1"/>
          <p:nvPr/>
        </p:nvSpPr>
        <p:spPr>
          <a:xfrm>
            <a:off x="356188" y="3469864"/>
            <a:ext cx="2169413" cy="9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s-ES" sz="1400" b="1" dirty="0">
                <a:solidFill>
                  <a:srgbClr val="212E3E"/>
                </a:solidFill>
                <a:latin typeface="+mj-lt"/>
                <a:ea typeface="Fira Sans Extra Condensed Medium"/>
                <a:cs typeface="Fira Sans Extra Condensed Medium"/>
                <a:sym typeface="Fira Sans Extra Condensed Medium"/>
              </a:rPr>
              <a:t>RD 1432/2008</a:t>
            </a:r>
          </a:p>
          <a:p>
            <a:pPr algn="ctr"/>
            <a:r>
              <a:rPr lang="es-ES" sz="1200" dirty="0">
                <a:latin typeface="+mj-lt"/>
                <a:ea typeface="Roboto"/>
                <a:cs typeface="Roboto"/>
                <a:sym typeface="Roboto"/>
              </a:rPr>
              <a:t>Obligado cumplimiento del RD Avifauna con la instalación de sistemas </a:t>
            </a:r>
            <a:r>
              <a:rPr lang="es-ES" sz="1200" dirty="0" err="1">
                <a:latin typeface="+mj-lt"/>
                <a:ea typeface="Roboto"/>
                <a:cs typeface="Roboto"/>
                <a:sym typeface="Roboto"/>
              </a:rPr>
              <a:t>anti-electrocución</a:t>
            </a:r>
            <a:r>
              <a:rPr lang="es-ES" sz="1200" dirty="0">
                <a:latin typeface="+mj-lt"/>
                <a:ea typeface="Roboto"/>
                <a:cs typeface="Roboto"/>
                <a:sym typeface="Roboto"/>
              </a:rPr>
              <a:t> (forros)</a:t>
            </a:r>
          </a:p>
        </p:txBody>
      </p:sp>
      <p:sp>
        <p:nvSpPr>
          <p:cNvPr id="109" name="Google Shape;304;p20">
            <a:extLst>
              <a:ext uri="{FF2B5EF4-FFF2-40B4-BE49-F238E27FC236}">
                <a16:creationId xmlns:a16="http://schemas.microsoft.com/office/drawing/2014/main" id="{31E0DF5B-9B57-84F6-4ECB-67873C0131D5}"/>
              </a:ext>
            </a:extLst>
          </p:cNvPr>
          <p:cNvSpPr txBox="1"/>
          <p:nvPr/>
        </p:nvSpPr>
        <p:spPr>
          <a:xfrm>
            <a:off x="456739" y="3045269"/>
            <a:ext cx="1985911" cy="3600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40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ANTECEDENTES</a:t>
            </a:r>
            <a:endParaRPr sz="140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110" name="Google Shape;305;p20">
            <a:extLst>
              <a:ext uri="{FF2B5EF4-FFF2-40B4-BE49-F238E27FC236}">
                <a16:creationId xmlns:a16="http://schemas.microsoft.com/office/drawing/2014/main" id="{6434037C-3CD7-0C38-CECE-382D94CFC589}"/>
              </a:ext>
            </a:extLst>
          </p:cNvPr>
          <p:cNvSpPr/>
          <p:nvPr/>
        </p:nvSpPr>
        <p:spPr>
          <a:xfrm>
            <a:off x="885695" y="1521772"/>
            <a:ext cx="1116000" cy="1116000"/>
          </a:xfrm>
          <a:prstGeom prst="ellipse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11" name="Google Shape;306;p20">
            <a:extLst>
              <a:ext uri="{FF2B5EF4-FFF2-40B4-BE49-F238E27FC236}">
                <a16:creationId xmlns:a16="http://schemas.microsoft.com/office/drawing/2014/main" id="{7F3CF1CF-3188-9239-EFF4-16B460F74360}"/>
              </a:ext>
            </a:extLst>
          </p:cNvPr>
          <p:cNvSpPr/>
          <p:nvPr/>
        </p:nvSpPr>
        <p:spPr>
          <a:xfrm>
            <a:off x="993695" y="1629772"/>
            <a:ext cx="900000" cy="900000"/>
          </a:xfrm>
          <a:prstGeom prst="ellipse">
            <a:avLst/>
          </a:prstGeom>
          <a:solidFill>
            <a:srgbClr val="212E3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cxnSp>
        <p:nvCxnSpPr>
          <p:cNvPr id="112" name="Google Shape;307;p20">
            <a:extLst>
              <a:ext uri="{FF2B5EF4-FFF2-40B4-BE49-F238E27FC236}">
                <a16:creationId xmlns:a16="http://schemas.microsoft.com/office/drawing/2014/main" id="{CD19E210-AC29-DDFE-8485-9776D3CDCBB6}"/>
              </a:ext>
            </a:extLst>
          </p:cNvPr>
          <p:cNvCxnSpPr>
            <a:cxnSpLocks/>
          </p:cNvCxnSpPr>
          <p:nvPr/>
        </p:nvCxnSpPr>
        <p:spPr>
          <a:xfrm>
            <a:off x="1440895" y="2635536"/>
            <a:ext cx="7045" cy="3960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" name="Google Shape;326;p20">
            <a:extLst>
              <a:ext uri="{FF2B5EF4-FFF2-40B4-BE49-F238E27FC236}">
                <a16:creationId xmlns:a16="http://schemas.microsoft.com/office/drawing/2014/main" id="{46B6CED4-54C2-20E9-E71C-2987255A8D0B}"/>
              </a:ext>
            </a:extLst>
          </p:cNvPr>
          <p:cNvSpPr txBox="1"/>
          <p:nvPr/>
        </p:nvSpPr>
        <p:spPr>
          <a:xfrm>
            <a:off x="2441103" y="3627881"/>
            <a:ext cx="2160000" cy="1510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>
              <a:defRPr lang="en-US"/>
            </a:defPPr>
            <a:lvl1pPr algn="just">
              <a:defRPr sz="1200">
                <a:latin typeface="Roboto"/>
                <a:ea typeface="Roboto"/>
                <a:cs typeface="Roboto"/>
              </a:defRPr>
            </a:lvl1pPr>
          </a:lstStyle>
          <a:p>
            <a:pPr algn="ctr"/>
            <a:r>
              <a:rPr lang="es-ES" sz="1400" b="1" dirty="0">
                <a:solidFill>
                  <a:srgbClr val="00DD2B"/>
                </a:solidFill>
                <a:latin typeface="+mj-lt"/>
                <a:ea typeface="Fira Sans Extra Condensed Medium"/>
                <a:cs typeface="Fira Sans Extra Condensed Medium"/>
                <a:sym typeface="Fira Sans Extra Condensed Medium"/>
              </a:rPr>
              <a:t>NUEVA ALTERNATIVA</a:t>
            </a:r>
          </a:p>
          <a:p>
            <a:pPr algn="ctr"/>
            <a:r>
              <a:rPr lang="en" dirty="0">
                <a:latin typeface="+mj-lt"/>
                <a:sym typeface="Roboto"/>
              </a:rPr>
              <a:t>Uso de </a:t>
            </a:r>
            <a:r>
              <a:rPr lang="en" b="1" dirty="0">
                <a:latin typeface="+mj-lt"/>
                <a:sym typeface="Roboto"/>
              </a:rPr>
              <a:t>crucetas aislantes </a:t>
            </a:r>
            <a:r>
              <a:rPr lang="en" dirty="0">
                <a:latin typeface="+mj-lt"/>
                <a:sym typeface="Roboto"/>
              </a:rPr>
              <a:t>como sistema avifauna que cumpla requisitos técnicos y legales. Montaje real de </a:t>
            </a:r>
            <a:r>
              <a:rPr lang="en" b="1" dirty="0">
                <a:latin typeface="+mj-lt"/>
                <a:sym typeface="Roboto"/>
              </a:rPr>
              <a:t>piloto en campo en 4 ubicaciones con 2 tipos de crucetas aislantes:</a:t>
            </a:r>
          </a:p>
          <a:p>
            <a:pPr marL="628650" lvl="1" indent="-171450">
              <a:buFontTx/>
              <a:buChar char="-"/>
            </a:pPr>
            <a:r>
              <a:rPr lang="en" sz="1100" b="1" dirty="0">
                <a:latin typeface="+mj-lt"/>
                <a:sym typeface="Roboto"/>
              </a:rPr>
              <a:t>Cruceta tipo bóveda</a:t>
            </a:r>
          </a:p>
          <a:p>
            <a:pPr marL="628650" lvl="1" indent="-171450">
              <a:buFontTx/>
              <a:buChar char="-"/>
            </a:pPr>
            <a:r>
              <a:rPr lang="en" sz="1100" b="1" dirty="0">
                <a:latin typeface="+mj-lt"/>
                <a:sym typeface="Roboto"/>
              </a:rPr>
              <a:t>Cruceta recta</a:t>
            </a:r>
          </a:p>
        </p:txBody>
      </p:sp>
      <p:sp>
        <p:nvSpPr>
          <p:cNvPr id="143" name="Google Shape;318;p20">
            <a:extLst>
              <a:ext uri="{FF2B5EF4-FFF2-40B4-BE49-F238E27FC236}">
                <a16:creationId xmlns:a16="http://schemas.microsoft.com/office/drawing/2014/main" id="{6B45447E-BBF0-D615-26F6-3A72D0BF73F8}"/>
              </a:ext>
            </a:extLst>
          </p:cNvPr>
          <p:cNvSpPr/>
          <p:nvPr/>
        </p:nvSpPr>
        <p:spPr>
          <a:xfrm rot="16200000">
            <a:off x="5487741" y="2145270"/>
            <a:ext cx="360000" cy="2160000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7994B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55" name="Google Shape;304;p20">
            <a:extLst>
              <a:ext uri="{FF2B5EF4-FFF2-40B4-BE49-F238E27FC236}">
                <a16:creationId xmlns:a16="http://schemas.microsoft.com/office/drawing/2014/main" id="{828DC67A-518E-5F87-C84E-5DD05454A202}"/>
              </a:ext>
            </a:extLst>
          </p:cNvPr>
          <p:cNvSpPr txBox="1"/>
          <p:nvPr/>
        </p:nvSpPr>
        <p:spPr>
          <a:xfrm>
            <a:off x="4576779" y="3045268"/>
            <a:ext cx="1985911" cy="3600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40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COLABORADORES</a:t>
            </a:r>
            <a:endParaRPr sz="140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grpSp>
        <p:nvGrpSpPr>
          <p:cNvPr id="157" name="Google Shape;891;p31">
            <a:extLst>
              <a:ext uri="{FF2B5EF4-FFF2-40B4-BE49-F238E27FC236}">
                <a16:creationId xmlns:a16="http://schemas.microsoft.com/office/drawing/2014/main" id="{0226DFD3-95DE-A993-878F-B847404720A8}"/>
              </a:ext>
            </a:extLst>
          </p:cNvPr>
          <p:cNvGrpSpPr/>
          <p:nvPr/>
        </p:nvGrpSpPr>
        <p:grpSpPr>
          <a:xfrm>
            <a:off x="1260895" y="1899772"/>
            <a:ext cx="360000" cy="360000"/>
            <a:chOff x="5045500" y="842250"/>
            <a:chExt cx="503875" cy="481850"/>
          </a:xfrm>
          <a:solidFill>
            <a:schemeClr val="bg1"/>
          </a:solidFill>
        </p:grpSpPr>
        <p:sp>
          <p:nvSpPr>
            <p:cNvPr id="158" name="Google Shape;892;p31">
              <a:extLst>
                <a:ext uri="{FF2B5EF4-FFF2-40B4-BE49-F238E27FC236}">
                  <a16:creationId xmlns:a16="http://schemas.microsoft.com/office/drawing/2014/main" id="{E643C403-E9DC-9948-E73D-ED88B8E45C6D}"/>
                </a:ext>
              </a:extLst>
            </p:cNvPr>
            <p:cNvSpPr/>
            <p:nvPr/>
          </p:nvSpPr>
          <p:spPr>
            <a:xfrm>
              <a:off x="5045500" y="842250"/>
              <a:ext cx="503875" cy="481850"/>
            </a:xfrm>
            <a:custGeom>
              <a:avLst/>
              <a:gdLst/>
              <a:ahLst/>
              <a:cxnLst/>
              <a:rect l="l" t="t" r="r" b="b"/>
              <a:pathLst>
                <a:path w="20155" h="19274" extrusionOk="0">
                  <a:moveTo>
                    <a:pt x="12103" y="1130"/>
                  </a:moveTo>
                  <a:cubicBezTo>
                    <a:pt x="13694" y="1130"/>
                    <a:pt x="15284" y="1735"/>
                    <a:pt x="16496" y="2945"/>
                  </a:cubicBezTo>
                  <a:cubicBezTo>
                    <a:pt x="18917" y="5366"/>
                    <a:pt x="18917" y="9305"/>
                    <a:pt x="16496" y="11729"/>
                  </a:cubicBezTo>
                  <a:cubicBezTo>
                    <a:pt x="15286" y="12940"/>
                    <a:pt x="13695" y="13545"/>
                    <a:pt x="12104" y="13545"/>
                  </a:cubicBezTo>
                  <a:cubicBezTo>
                    <a:pt x="10514" y="13545"/>
                    <a:pt x="8923" y="12940"/>
                    <a:pt x="7712" y="11729"/>
                  </a:cubicBezTo>
                  <a:cubicBezTo>
                    <a:pt x="5288" y="9305"/>
                    <a:pt x="5288" y="5369"/>
                    <a:pt x="7712" y="2945"/>
                  </a:cubicBezTo>
                  <a:cubicBezTo>
                    <a:pt x="8923" y="1735"/>
                    <a:pt x="10513" y="1130"/>
                    <a:pt x="12103" y="1130"/>
                  </a:cubicBezTo>
                  <a:close/>
                  <a:moveTo>
                    <a:pt x="4918" y="13726"/>
                  </a:moveTo>
                  <a:lnTo>
                    <a:pt x="5716" y="14524"/>
                  </a:lnTo>
                  <a:lnTo>
                    <a:pt x="4918" y="15322"/>
                  </a:lnTo>
                  <a:lnTo>
                    <a:pt x="4120" y="14524"/>
                  </a:lnTo>
                  <a:lnTo>
                    <a:pt x="4918" y="13726"/>
                  </a:lnTo>
                  <a:close/>
                  <a:moveTo>
                    <a:pt x="12106" y="1"/>
                  </a:moveTo>
                  <a:cubicBezTo>
                    <a:pt x="10226" y="1"/>
                    <a:pt x="8345" y="717"/>
                    <a:pt x="6914" y="2147"/>
                  </a:cubicBezTo>
                  <a:cubicBezTo>
                    <a:pt x="4725" y="4333"/>
                    <a:pt x="4240" y="7516"/>
                    <a:pt x="5315" y="10133"/>
                  </a:cubicBezTo>
                  <a:lnTo>
                    <a:pt x="4518" y="10931"/>
                  </a:lnTo>
                  <a:cubicBezTo>
                    <a:pt x="4009" y="11434"/>
                    <a:pt x="3876" y="12208"/>
                    <a:pt x="4192" y="12852"/>
                  </a:cubicBezTo>
                  <a:lnTo>
                    <a:pt x="663" y="16382"/>
                  </a:lnTo>
                  <a:cubicBezTo>
                    <a:pt x="1" y="17044"/>
                    <a:pt x="1" y="18116"/>
                    <a:pt x="663" y="18778"/>
                  </a:cubicBezTo>
                  <a:cubicBezTo>
                    <a:pt x="994" y="19108"/>
                    <a:pt x="1428" y="19273"/>
                    <a:pt x="1862" y="19273"/>
                  </a:cubicBezTo>
                  <a:cubicBezTo>
                    <a:pt x="2295" y="19273"/>
                    <a:pt x="2729" y="19108"/>
                    <a:pt x="3060" y="18778"/>
                  </a:cubicBezTo>
                  <a:lnTo>
                    <a:pt x="6586" y="15249"/>
                  </a:lnTo>
                  <a:cubicBezTo>
                    <a:pt x="6820" y="15363"/>
                    <a:pt x="7071" y="15418"/>
                    <a:pt x="7320" y="15418"/>
                  </a:cubicBezTo>
                  <a:cubicBezTo>
                    <a:pt x="7757" y="15418"/>
                    <a:pt x="8188" y="15247"/>
                    <a:pt x="8510" y="14921"/>
                  </a:cubicBezTo>
                  <a:lnTo>
                    <a:pt x="9308" y="14126"/>
                  </a:lnTo>
                  <a:cubicBezTo>
                    <a:pt x="10192" y="14489"/>
                    <a:pt x="11145" y="14675"/>
                    <a:pt x="12104" y="14675"/>
                  </a:cubicBezTo>
                  <a:cubicBezTo>
                    <a:pt x="13962" y="14675"/>
                    <a:pt x="15843" y="13979"/>
                    <a:pt x="17294" y="12527"/>
                  </a:cubicBezTo>
                  <a:cubicBezTo>
                    <a:pt x="20155" y="9666"/>
                    <a:pt x="20155" y="5008"/>
                    <a:pt x="17294" y="2147"/>
                  </a:cubicBezTo>
                  <a:cubicBezTo>
                    <a:pt x="15864" y="716"/>
                    <a:pt x="13985" y="1"/>
                    <a:pt x="121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59" name="Google Shape;893;p31">
              <a:extLst>
                <a:ext uri="{FF2B5EF4-FFF2-40B4-BE49-F238E27FC236}">
                  <a16:creationId xmlns:a16="http://schemas.microsoft.com/office/drawing/2014/main" id="{6D63800B-316D-C188-6FEC-DC9A80F36C37}"/>
                </a:ext>
              </a:extLst>
            </p:cNvPr>
            <p:cNvSpPr/>
            <p:nvPr/>
          </p:nvSpPr>
          <p:spPr>
            <a:xfrm>
              <a:off x="5221050" y="898625"/>
              <a:ext cx="254100" cy="254100"/>
            </a:xfrm>
            <a:custGeom>
              <a:avLst/>
              <a:gdLst/>
              <a:ahLst/>
              <a:cxnLst/>
              <a:rect l="l" t="t" r="r" b="b"/>
              <a:pathLst>
                <a:path w="10164" h="10164" extrusionOk="0">
                  <a:moveTo>
                    <a:pt x="5081" y="1"/>
                  </a:moveTo>
                  <a:cubicBezTo>
                    <a:pt x="2274" y="1"/>
                    <a:pt x="1" y="2274"/>
                    <a:pt x="1" y="5081"/>
                  </a:cubicBezTo>
                  <a:cubicBezTo>
                    <a:pt x="1" y="7887"/>
                    <a:pt x="2274" y="10164"/>
                    <a:pt x="5081" y="10164"/>
                  </a:cubicBezTo>
                  <a:cubicBezTo>
                    <a:pt x="7887" y="10164"/>
                    <a:pt x="10164" y="7887"/>
                    <a:pt x="10164" y="5081"/>
                  </a:cubicBezTo>
                  <a:cubicBezTo>
                    <a:pt x="10164" y="2274"/>
                    <a:pt x="7887" y="1"/>
                    <a:pt x="50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172" name="Grupo 171">
            <a:extLst>
              <a:ext uri="{FF2B5EF4-FFF2-40B4-BE49-F238E27FC236}">
                <a16:creationId xmlns:a16="http://schemas.microsoft.com/office/drawing/2014/main" id="{B4CA7CE0-CDB6-4E00-2C2C-E05896736C58}"/>
              </a:ext>
            </a:extLst>
          </p:cNvPr>
          <p:cNvGrpSpPr/>
          <p:nvPr/>
        </p:nvGrpSpPr>
        <p:grpSpPr>
          <a:xfrm>
            <a:off x="2963103" y="1516116"/>
            <a:ext cx="1116000" cy="1835999"/>
            <a:chOff x="2985851" y="1855147"/>
            <a:chExt cx="1116000" cy="1835999"/>
          </a:xfrm>
        </p:grpSpPr>
        <p:cxnSp>
          <p:nvCxnSpPr>
            <p:cNvPr id="127" name="Google Shape;330;p20">
              <a:extLst>
                <a:ext uri="{FF2B5EF4-FFF2-40B4-BE49-F238E27FC236}">
                  <a16:creationId xmlns:a16="http://schemas.microsoft.com/office/drawing/2014/main" id="{24EC53D8-58DE-C10A-F1BC-F1315CD6301C}"/>
                </a:ext>
              </a:extLst>
            </p:cNvPr>
            <p:cNvCxnSpPr>
              <a:cxnSpLocks/>
              <a:stCxn id="160" idx="4"/>
            </p:cNvCxnSpPr>
            <p:nvPr/>
          </p:nvCxnSpPr>
          <p:spPr>
            <a:xfrm>
              <a:off x="3543851" y="2971146"/>
              <a:ext cx="0" cy="720000"/>
            </a:xfrm>
            <a:prstGeom prst="straightConnector1">
              <a:avLst/>
            </a:prstGeom>
            <a:noFill/>
            <a:ln w="9525" cap="flat" cmpd="sng">
              <a:solidFill>
                <a:srgbClr val="00DD2B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170" name="Grupo 169">
              <a:extLst>
                <a:ext uri="{FF2B5EF4-FFF2-40B4-BE49-F238E27FC236}">
                  <a16:creationId xmlns:a16="http://schemas.microsoft.com/office/drawing/2014/main" id="{5C673FDF-5238-854E-B61B-310C26CAAD9A}"/>
                </a:ext>
              </a:extLst>
            </p:cNvPr>
            <p:cNvGrpSpPr/>
            <p:nvPr/>
          </p:nvGrpSpPr>
          <p:grpSpPr>
            <a:xfrm>
              <a:off x="2985851" y="1855147"/>
              <a:ext cx="1116000" cy="1116000"/>
              <a:chOff x="2985851" y="1855147"/>
              <a:chExt cx="1116000" cy="1116000"/>
            </a:xfrm>
          </p:grpSpPr>
          <p:sp>
            <p:nvSpPr>
              <p:cNvPr id="160" name="Google Shape;305;p20">
                <a:extLst>
                  <a:ext uri="{FF2B5EF4-FFF2-40B4-BE49-F238E27FC236}">
                    <a16:creationId xmlns:a16="http://schemas.microsoft.com/office/drawing/2014/main" id="{9CF9FE79-B64F-A89F-954F-06DD04AA651C}"/>
                  </a:ext>
                </a:extLst>
              </p:cNvPr>
              <p:cNvSpPr/>
              <p:nvPr/>
            </p:nvSpPr>
            <p:spPr>
              <a:xfrm>
                <a:off x="2985851" y="1855147"/>
                <a:ext cx="1116000" cy="1116000"/>
              </a:xfrm>
              <a:prstGeom prst="ellipse">
                <a:avLst/>
              </a:prstGeom>
              <a:noFill/>
              <a:ln w="9525" cap="flat" cmpd="sng">
                <a:solidFill>
                  <a:srgbClr val="00DD2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161" name="Google Shape;306;p20">
                <a:extLst>
                  <a:ext uri="{FF2B5EF4-FFF2-40B4-BE49-F238E27FC236}">
                    <a16:creationId xmlns:a16="http://schemas.microsoft.com/office/drawing/2014/main" id="{17FE5EC6-FAD7-CC6D-88E5-71F3E23E1F30}"/>
                  </a:ext>
                </a:extLst>
              </p:cNvPr>
              <p:cNvSpPr/>
              <p:nvPr/>
            </p:nvSpPr>
            <p:spPr>
              <a:xfrm>
                <a:off x="3093851" y="1963147"/>
                <a:ext cx="900000" cy="900000"/>
              </a:xfrm>
              <a:prstGeom prst="ellipse">
                <a:avLst/>
              </a:prstGeom>
              <a:solidFill>
                <a:srgbClr val="00DD2B"/>
              </a:solidFill>
              <a:ln>
                <a:solidFill>
                  <a:srgbClr val="00DD2B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</p:grpSp>
      </p:grpSp>
      <p:grpSp>
        <p:nvGrpSpPr>
          <p:cNvPr id="173" name="Grupo 172">
            <a:extLst>
              <a:ext uri="{FF2B5EF4-FFF2-40B4-BE49-F238E27FC236}">
                <a16:creationId xmlns:a16="http://schemas.microsoft.com/office/drawing/2014/main" id="{53CA63C5-F3F0-2130-9407-F2529DB10758}"/>
              </a:ext>
            </a:extLst>
          </p:cNvPr>
          <p:cNvGrpSpPr/>
          <p:nvPr/>
        </p:nvGrpSpPr>
        <p:grpSpPr>
          <a:xfrm>
            <a:off x="2441103" y="3045761"/>
            <a:ext cx="2160000" cy="360000"/>
            <a:chOff x="2442651" y="3671151"/>
            <a:chExt cx="2160000" cy="360000"/>
          </a:xfrm>
          <a:solidFill>
            <a:srgbClr val="00DD2B"/>
          </a:solidFill>
        </p:grpSpPr>
        <p:sp>
          <p:nvSpPr>
            <p:cNvPr id="122" name="Google Shape;325;p20">
              <a:extLst>
                <a:ext uri="{FF2B5EF4-FFF2-40B4-BE49-F238E27FC236}">
                  <a16:creationId xmlns:a16="http://schemas.microsoft.com/office/drawing/2014/main" id="{95D4CDBA-C49A-874D-ED50-0121CE347DC1}"/>
                </a:ext>
              </a:extLst>
            </p:cNvPr>
            <p:cNvSpPr/>
            <p:nvPr/>
          </p:nvSpPr>
          <p:spPr>
            <a:xfrm rot="16200000">
              <a:off x="3342651" y="2771151"/>
              <a:ext cx="360000" cy="2160000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24" name="Google Shape;327;p20">
              <a:extLst>
                <a:ext uri="{FF2B5EF4-FFF2-40B4-BE49-F238E27FC236}">
                  <a16:creationId xmlns:a16="http://schemas.microsoft.com/office/drawing/2014/main" id="{7A3214CE-A975-073F-6089-6F1C4FFD41F1}"/>
                </a:ext>
              </a:extLst>
            </p:cNvPr>
            <p:cNvSpPr txBox="1"/>
            <p:nvPr/>
          </p:nvSpPr>
          <p:spPr>
            <a:xfrm>
              <a:off x="2446570" y="3675007"/>
              <a:ext cx="2142400" cy="352289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 sz="1400" b="1" dirty="0">
                  <a:solidFill>
                    <a:srgbClr val="FFFFFF"/>
                  </a:solidFill>
                  <a:latin typeface="Fira Sans Extra Condensed Medium"/>
                  <a:sym typeface="Fira Sans Extra Condensed Medium"/>
                </a:rPr>
                <a:t>OBJETIVO</a:t>
              </a:r>
              <a:endParaRPr sz="1400" b="1" dirty="0">
                <a:solidFill>
                  <a:srgbClr val="FFFFFF"/>
                </a:solidFill>
                <a:latin typeface="Fira Sans Extra Condensed Medium"/>
                <a:sym typeface="Fira Sans Extra Condensed Medium"/>
              </a:endParaRPr>
            </a:p>
          </p:txBody>
        </p:sp>
      </p:grpSp>
      <p:grpSp>
        <p:nvGrpSpPr>
          <p:cNvPr id="174" name="Grupo 173">
            <a:extLst>
              <a:ext uri="{FF2B5EF4-FFF2-40B4-BE49-F238E27FC236}">
                <a16:creationId xmlns:a16="http://schemas.microsoft.com/office/drawing/2014/main" id="{79E6736C-88DC-219E-A906-7B551A89685D}"/>
              </a:ext>
            </a:extLst>
          </p:cNvPr>
          <p:cNvGrpSpPr/>
          <p:nvPr/>
        </p:nvGrpSpPr>
        <p:grpSpPr>
          <a:xfrm>
            <a:off x="5007607" y="1516116"/>
            <a:ext cx="1116000" cy="1519627"/>
            <a:chOff x="2985851" y="1855147"/>
            <a:chExt cx="1116000" cy="1519627"/>
          </a:xfrm>
        </p:grpSpPr>
        <p:cxnSp>
          <p:nvCxnSpPr>
            <p:cNvPr id="175" name="Google Shape;330;p20">
              <a:extLst>
                <a:ext uri="{FF2B5EF4-FFF2-40B4-BE49-F238E27FC236}">
                  <a16:creationId xmlns:a16="http://schemas.microsoft.com/office/drawing/2014/main" id="{0548D758-245A-5A2A-1FAF-965006BD83F0}"/>
                </a:ext>
              </a:extLst>
            </p:cNvPr>
            <p:cNvCxnSpPr>
              <a:cxnSpLocks/>
              <a:stCxn id="177" idx="4"/>
              <a:endCxn id="155" idx="0"/>
            </p:cNvCxnSpPr>
            <p:nvPr/>
          </p:nvCxnSpPr>
          <p:spPr>
            <a:xfrm>
              <a:off x="3543851" y="2971147"/>
              <a:ext cx="4128" cy="403627"/>
            </a:xfrm>
            <a:prstGeom prst="straightConnector1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176" name="Grupo 175">
              <a:extLst>
                <a:ext uri="{FF2B5EF4-FFF2-40B4-BE49-F238E27FC236}">
                  <a16:creationId xmlns:a16="http://schemas.microsoft.com/office/drawing/2014/main" id="{FDF4E9D5-7B07-2244-159B-51B8CA4EAB45}"/>
                </a:ext>
              </a:extLst>
            </p:cNvPr>
            <p:cNvGrpSpPr/>
            <p:nvPr/>
          </p:nvGrpSpPr>
          <p:grpSpPr>
            <a:xfrm>
              <a:off x="2985851" y="1855147"/>
              <a:ext cx="1116000" cy="1116000"/>
              <a:chOff x="2985851" y="1855147"/>
              <a:chExt cx="1116000" cy="1116000"/>
            </a:xfrm>
          </p:grpSpPr>
          <p:sp>
            <p:nvSpPr>
              <p:cNvPr id="177" name="Google Shape;305;p20">
                <a:extLst>
                  <a:ext uri="{FF2B5EF4-FFF2-40B4-BE49-F238E27FC236}">
                    <a16:creationId xmlns:a16="http://schemas.microsoft.com/office/drawing/2014/main" id="{97FC4EE2-15C3-6879-4DC5-982E4B22812A}"/>
                  </a:ext>
                </a:extLst>
              </p:cNvPr>
              <p:cNvSpPr/>
              <p:nvPr/>
            </p:nvSpPr>
            <p:spPr>
              <a:xfrm>
                <a:off x="2985851" y="1855147"/>
                <a:ext cx="1116000" cy="1116000"/>
              </a:xfrm>
              <a:prstGeom prst="ellipse">
                <a:avLst/>
              </a:prstGeom>
              <a:noFill/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178" name="Google Shape;306;p20">
                <a:extLst>
                  <a:ext uri="{FF2B5EF4-FFF2-40B4-BE49-F238E27FC236}">
                    <a16:creationId xmlns:a16="http://schemas.microsoft.com/office/drawing/2014/main" id="{A0D438E8-A549-019E-015D-9254941C7E8F}"/>
                  </a:ext>
                </a:extLst>
              </p:cNvPr>
              <p:cNvSpPr/>
              <p:nvPr/>
            </p:nvSpPr>
            <p:spPr>
              <a:xfrm>
                <a:off x="3093851" y="1963147"/>
                <a:ext cx="900000" cy="900000"/>
              </a:xfrm>
              <a:prstGeom prst="ellipse">
                <a:avLst/>
              </a:prstGeom>
              <a:solidFill>
                <a:srgbClr val="7994B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</p:grpSp>
      </p:grpSp>
      <p:sp>
        <p:nvSpPr>
          <p:cNvPr id="183" name="Google Shape;354;p20">
            <a:extLst>
              <a:ext uri="{FF2B5EF4-FFF2-40B4-BE49-F238E27FC236}">
                <a16:creationId xmlns:a16="http://schemas.microsoft.com/office/drawing/2014/main" id="{80A6FD11-2AD6-71DC-40D1-31890515DE3C}"/>
              </a:ext>
            </a:extLst>
          </p:cNvPr>
          <p:cNvSpPr/>
          <p:nvPr/>
        </p:nvSpPr>
        <p:spPr>
          <a:xfrm>
            <a:off x="5320770" y="1869630"/>
            <a:ext cx="489673" cy="358788"/>
          </a:xfrm>
          <a:custGeom>
            <a:avLst/>
            <a:gdLst/>
            <a:ahLst/>
            <a:cxnLst/>
            <a:rect l="l" t="t" r="r" b="b"/>
            <a:pathLst>
              <a:path w="11538" h="8454" extrusionOk="0">
                <a:moveTo>
                  <a:pt x="7573" y="334"/>
                </a:moveTo>
                <a:lnTo>
                  <a:pt x="7573" y="1965"/>
                </a:lnTo>
                <a:cubicBezTo>
                  <a:pt x="7573" y="2227"/>
                  <a:pt x="7525" y="2465"/>
                  <a:pt x="7418" y="2679"/>
                </a:cubicBezTo>
                <a:cubicBezTo>
                  <a:pt x="7395" y="2715"/>
                  <a:pt x="7395" y="2727"/>
                  <a:pt x="7395" y="2763"/>
                </a:cubicBezTo>
                <a:lnTo>
                  <a:pt x="7395" y="3239"/>
                </a:lnTo>
                <a:cubicBezTo>
                  <a:pt x="7395" y="3691"/>
                  <a:pt x="7216" y="4108"/>
                  <a:pt x="6883" y="4442"/>
                </a:cubicBezTo>
                <a:cubicBezTo>
                  <a:pt x="6835" y="4489"/>
                  <a:pt x="6787" y="4513"/>
                  <a:pt x="6740" y="4549"/>
                </a:cubicBezTo>
                <a:cubicBezTo>
                  <a:pt x="6466" y="4759"/>
                  <a:pt x="6137" y="4876"/>
                  <a:pt x="5785" y="4876"/>
                </a:cubicBezTo>
                <a:cubicBezTo>
                  <a:pt x="5739" y="4876"/>
                  <a:pt x="5692" y="4874"/>
                  <a:pt x="5644" y="4870"/>
                </a:cubicBezTo>
                <a:cubicBezTo>
                  <a:pt x="4787" y="4823"/>
                  <a:pt x="4108" y="4072"/>
                  <a:pt x="4108" y="3180"/>
                </a:cubicBezTo>
                <a:lnTo>
                  <a:pt x="4108" y="2763"/>
                </a:lnTo>
                <a:cubicBezTo>
                  <a:pt x="4108" y="2727"/>
                  <a:pt x="4108" y="2715"/>
                  <a:pt x="4096" y="2679"/>
                </a:cubicBezTo>
                <a:cubicBezTo>
                  <a:pt x="3989" y="2465"/>
                  <a:pt x="3930" y="2227"/>
                  <a:pt x="3930" y="1965"/>
                </a:cubicBezTo>
                <a:lnTo>
                  <a:pt x="3930" y="1608"/>
                </a:lnTo>
                <a:cubicBezTo>
                  <a:pt x="3930" y="917"/>
                  <a:pt x="4513" y="334"/>
                  <a:pt x="5216" y="334"/>
                </a:cubicBezTo>
                <a:close/>
                <a:moveTo>
                  <a:pt x="1763" y="3025"/>
                </a:moveTo>
                <a:cubicBezTo>
                  <a:pt x="2049" y="3025"/>
                  <a:pt x="2311" y="3144"/>
                  <a:pt x="2525" y="3358"/>
                </a:cubicBezTo>
                <a:cubicBezTo>
                  <a:pt x="2715" y="3561"/>
                  <a:pt x="2846" y="3846"/>
                  <a:pt x="2858" y="4144"/>
                </a:cubicBezTo>
                <a:cubicBezTo>
                  <a:pt x="2858" y="4227"/>
                  <a:pt x="2882" y="4346"/>
                  <a:pt x="2882" y="4465"/>
                </a:cubicBezTo>
                <a:lnTo>
                  <a:pt x="2882" y="4501"/>
                </a:lnTo>
                <a:cubicBezTo>
                  <a:pt x="2703" y="4215"/>
                  <a:pt x="2406" y="4013"/>
                  <a:pt x="2049" y="3894"/>
                </a:cubicBezTo>
                <a:cubicBezTo>
                  <a:pt x="1703" y="3787"/>
                  <a:pt x="1406" y="3787"/>
                  <a:pt x="1406" y="3787"/>
                </a:cubicBezTo>
                <a:cubicBezTo>
                  <a:pt x="1358" y="3787"/>
                  <a:pt x="1310" y="3799"/>
                  <a:pt x="1287" y="3834"/>
                </a:cubicBezTo>
                <a:lnTo>
                  <a:pt x="977" y="4144"/>
                </a:lnTo>
                <a:cubicBezTo>
                  <a:pt x="918" y="4215"/>
                  <a:pt x="918" y="4323"/>
                  <a:pt x="977" y="4382"/>
                </a:cubicBezTo>
                <a:cubicBezTo>
                  <a:pt x="1013" y="4412"/>
                  <a:pt x="1057" y="4427"/>
                  <a:pt x="1101" y="4427"/>
                </a:cubicBezTo>
                <a:cubicBezTo>
                  <a:pt x="1144" y="4427"/>
                  <a:pt x="1185" y="4412"/>
                  <a:pt x="1215" y="4382"/>
                </a:cubicBezTo>
                <a:lnTo>
                  <a:pt x="1465" y="4108"/>
                </a:lnTo>
                <a:cubicBezTo>
                  <a:pt x="1691" y="4132"/>
                  <a:pt x="2382" y="4203"/>
                  <a:pt x="2668" y="4811"/>
                </a:cubicBezTo>
                <a:cubicBezTo>
                  <a:pt x="2596" y="5275"/>
                  <a:pt x="2215" y="5596"/>
                  <a:pt x="1763" y="5596"/>
                </a:cubicBezTo>
                <a:cubicBezTo>
                  <a:pt x="1251" y="5596"/>
                  <a:pt x="834" y="5180"/>
                  <a:pt x="834" y="4680"/>
                </a:cubicBezTo>
                <a:cubicBezTo>
                  <a:pt x="834" y="4584"/>
                  <a:pt x="763" y="4513"/>
                  <a:pt x="679" y="4513"/>
                </a:cubicBezTo>
                <a:lnTo>
                  <a:pt x="644" y="4513"/>
                </a:lnTo>
                <a:lnTo>
                  <a:pt x="644" y="4465"/>
                </a:lnTo>
                <a:cubicBezTo>
                  <a:pt x="644" y="4346"/>
                  <a:pt x="644" y="4251"/>
                  <a:pt x="656" y="4144"/>
                </a:cubicBezTo>
                <a:cubicBezTo>
                  <a:pt x="679" y="3846"/>
                  <a:pt x="810" y="3561"/>
                  <a:pt x="1001" y="3358"/>
                </a:cubicBezTo>
                <a:cubicBezTo>
                  <a:pt x="1215" y="3144"/>
                  <a:pt x="1477" y="3025"/>
                  <a:pt x="1763" y="3025"/>
                </a:cubicBezTo>
                <a:close/>
                <a:moveTo>
                  <a:pt x="10657" y="3025"/>
                </a:moveTo>
                <a:lnTo>
                  <a:pt x="10657" y="3727"/>
                </a:lnTo>
                <a:cubicBezTo>
                  <a:pt x="10657" y="3846"/>
                  <a:pt x="10633" y="3953"/>
                  <a:pt x="10585" y="4049"/>
                </a:cubicBezTo>
                <a:lnTo>
                  <a:pt x="10502" y="4251"/>
                </a:lnTo>
                <a:cubicBezTo>
                  <a:pt x="10478" y="4275"/>
                  <a:pt x="10478" y="4287"/>
                  <a:pt x="10478" y="4323"/>
                </a:cubicBezTo>
                <a:lnTo>
                  <a:pt x="10478" y="4680"/>
                </a:lnTo>
                <a:cubicBezTo>
                  <a:pt x="10478" y="4930"/>
                  <a:pt x="10383" y="5168"/>
                  <a:pt x="10204" y="5346"/>
                </a:cubicBezTo>
                <a:cubicBezTo>
                  <a:pt x="10044" y="5507"/>
                  <a:pt x="9835" y="5600"/>
                  <a:pt x="9605" y="5600"/>
                </a:cubicBezTo>
                <a:cubicBezTo>
                  <a:pt x="9579" y="5600"/>
                  <a:pt x="9552" y="5599"/>
                  <a:pt x="9526" y="5596"/>
                </a:cubicBezTo>
                <a:cubicBezTo>
                  <a:pt x="9038" y="5585"/>
                  <a:pt x="8633" y="5156"/>
                  <a:pt x="8633" y="4632"/>
                </a:cubicBezTo>
                <a:lnTo>
                  <a:pt x="8633" y="4323"/>
                </a:lnTo>
                <a:cubicBezTo>
                  <a:pt x="8633" y="4287"/>
                  <a:pt x="8633" y="4263"/>
                  <a:pt x="8621" y="4251"/>
                </a:cubicBezTo>
                <a:lnTo>
                  <a:pt x="8514" y="4037"/>
                </a:lnTo>
                <a:cubicBezTo>
                  <a:pt x="8466" y="3965"/>
                  <a:pt x="8454" y="3870"/>
                  <a:pt x="8454" y="3787"/>
                </a:cubicBezTo>
                <a:lnTo>
                  <a:pt x="8454" y="3775"/>
                </a:lnTo>
                <a:cubicBezTo>
                  <a:pt x="8454" y="3370"/>
                  <a:pt x="8788" y="3025"/>
                  <a:pt x="9204" y="3025"/>
                </a:cubicBezTo>
                <a:close/>
                <a:moveTo>
                  <a:pt x="584" y="5180"/>
                </a:moveTo>
                <a:cubicBezTo>
                  <a:pt x="679" y="5406"/>
                  <a:pt x="834" y="5596"/>
                  <a:pt x="1037" y="5739"/>
                </a:cubicBezTo>
                <a:lnTo>
                  <a:pt x="1037" y="5925"/>
                </a:lnTo>
                <a:lnTo>
                  <a:pt x="1037" y="5925"/>
                </a:lnTo>
                <a:cubicBezTo>
                  <a:pt x="723" y="5807"/>
                  <a:pt x="571" y="5655"/>
                  <a:pt x="501" y="5585"/>
                </a:cubicBezTo>
                <a:cubicBezTo>
                  <a:pt x="537" y="5466"/>
                  <a:pt x="572" y="5335"/>
                  <a:pt x="584" y="5180"/>
                </a:cubicBezTo>
                <a:close/>
                <a:moveTo>
                  <a:pt x="2918" y="5168"/>
                </a:moveTo>
                <a:cubicBezTo>
                  <a:pt x="2942" y="5323"/>
                  <a:pt x="2965" y="5454"/>
                  <a:pt x="3013" y="5573"/>
                </a:cubicBezTo>
                <a:cubicBezTo>
                  <a:pt x="2953" y="5656"/>
                  <a:pt x="2787" y="5811"/>
                  <a:pt x="2477" y="5930"/>
                </a:cubicBezTo>
                <a:lnTo>
                  <a:pt x="2477" y="5716"/>
                </a:lnTo>
                <a:cubicBezTo>
                  <a:pt x="2668" y="5585"/>
                  <a:pt x="2834" y="5394"/>
                  <a:pt x="2918" y="5168"/>
                </a:cubicBezTo>
                <a:close/>
                <a:moveTo>
                  <a:pt x="6668" y="4989"/>
                </a:moveTo>
                <a:lnTo>
                  <a:pt x="6668" y="5299"/>
                </a:lnTo>
                <a:lnTo>
                  <a:pt x="5751" y="5930"/>
                </a:lnTo>
                <a:lnTo>
                  <a:pt x="4823" y="5299"/>
                </a:lnTo>
                <a:lnTo>
                  <a:pt x="4823" y="4989"/>
                </a:lnTo>
                <a:cubicBezTo>
                  <a:pt x="5061" y="5120"/>
                  <a:pt x="5335" y="5204"/>
                  <a:pt x="5620" y="5215"/>
                </a:cubicBezTo>
                <a:lnTo>
                  <a:pt x="5751" y="5215"/>
                </a:lnTo>
                <a:cubicBezTo>
                  <a:pt x="6073" y="5215"/>
                  <a:pt x="6394" y="5144"/>
                  <a:pt x="6668" y="4989"/>
                </a:cubicBezTo>
                <a:close/>
                <a:moveTo>
                  <a:pt x="9942" y="5882"/>
                </a:moveTo>
                <a:lnTo>
                  <a:pt x="9942" y="5954"/>
                </a:lnTo>
                <a:cubicBezTo>
                  <a:pt x="9942" y="5989"/>
                  <a:pt x="9942" y="6025"/>
                  <a:pt x="9966" y="6061"/>
                </a:cubicBezTo>
                <a:lnTo>
                  <a:pt x="9561" y="6454"/>
                </a:lnTo>
                <a:lnTo>
                  <a:pt x="9169" y="6061"/>
                </a:lnTo>
                <a:cubicBezTo>
                  <a:pt x="9169" y="6025"/>
                  <a:pt x="9192" y="6001"/>
                  <a:pt x="9192" y="5954"/>
                </a:cubicBezTo>
                <a:lnTo>
                  <a:pt x="9192" y="5882"/>
                </a:lnTo>
                <a:cubicBezTo>
                  <a:pt x="9288" y="5918"/>
                  <a:pt x="9407" y="5942"/>
                  <a:pt x="9526" y="5942"/>
                </a:cubicBezTo>
                <a:lnTo>
                  <a:pt x="9573" y="5942"/>
                </a:lnTo>
                <a:cubicBezTo>
                  <a:pt x="9704" y="5942"/>
                  <a:pt x="9823" y="5930"/>
                  <a:pt x="9942" y="5882"/>
                </a:cubicBezTo>
                <a:close/>
                <a:moveTo>
                  <a:pt x="2120" y="5882"/>
                </a:moveTo>
                <a:lnTo>
                  <a:pt x="2120" y="6061"/>
                </a:lnTo>
                <a:cubicBezTo>
                  <a:pt x="2120" y="6120"/>
                  <a:pt x="2132" y="6180"/>
                  <a:pt x="2168" y="6228"/>
                </a:cubicBezTo>
                <a:lnTo>
                  <a:pt x="2013" y="6394"/>
                </a:lnTo>
                <a:cubicBezTo>
                  <a:pt x="1941" y="6460"/>
                  <a:pt x="1849" y="6492"/>
                  <a:pt x="1755" y="6492"/>
                </a:cubicBezTo>
                <a:cubicBezTo>
                  <a:pt x="1662" y="6492"/>
                  <a:pt x="1566" y="6460"/>
                  <a:pt x="1489" y="6394"/>
                </a:cubicBezTo>
                <a:lnTo>
                  <a:pt x="1322" y="6239"/>
                </a:lnTo>
                <a:cubicBezTo>
                  <a:pt x="1358" y="6192"/>
                  <a:pt x="1370" y="6132"/>
                  <a:pt x="1370" y="6073"/>
                </a:cubicBezTo>
                <a:lnTo>
                  <a:pt x="1370" y="5882"/>
                </a:lnTo>
                <a:cubicBezTo>
                  <a:pt x="1489" y="5918"/>
                  <a:pt x="1608" y="5942"/>
                  <a:pt x="1751" y="5942"/>
                </a:cubicBezTo>
                <a:cubicBezTo>
                  <a:pt x="1882" y="5942"/>
                  <a:pt x="2001" y="5930"/>
                  <a:pt x="2120" y="5882"/>
                </a:cubicBezTo>
                <a:close/>
                <a:moveTo>
                  <a:pt x="4692" y="5620"/>
                </a:moveTo>
                <a:lnTo>
                  <a:pt x="5490" y="6168"/>
                </a:lnTo>
                <a:lnTo>
                  <a:pt x="5061" y="6585"/>
                </a:lnTo>
                <a:lnTo>
                  <a:pt x="5049" y="6585"/>
                </a:lnTo>
                <a:lnTo>
                  <a:pt x="4525" y="5799"/>
                </a:lnTo>
                <a:lnTo>
                  <a:pt x="4692" y="5620"/>
                </a:lnTo>
                <a:close/>
                <a:moveTo>
                  <a:pt x="6823" y="5596"/>
                </a:moveTo>
                <a:lnTo>
                  <a:pt x="6978" y="5775"/>
                </a:lnTo>
                <a:lnTo>
                  <a:pt x="6466" y="6585"/>
                </a:lnTo>
                <a:lnTo>
                  <a:pt x="6442" y="6585"/>
                </a:lnTo>
                <a:lnTo>
                  <a:pt x="6013" y="6156"/>
                </a:lnTo>
                <a:lnTo>
                  <a:pt x="6823" y="5596"/>
                </a:lnTo>
                <a:close/>
                <a:moveTo>
                  <a:pt x="5251" y="1"/>
                </a:moveTo>
                <a:cubicBezTo>
                  <a:pt x="4358" y="1"/>
                  <a:pt x="3632" y="739"/>
                  <a:pt x="3632" y="1632"/>
                </a:cubicBezTo>
                <a:lnTo>
                  <a:pt x="3632" y="1989"/>
                </a:lnTo>
                <a:cubicBezTo>
                  <a:pt x="3632" y="2263"/>
                  <a:pt x="3692" y="2548"/>
                  <a:pt x="3811" y="2799"/>
                </a:cubicBezTo>
                <a:lnTo>
                  <a:pt x="3811" y="3191"/>
                </a:lnTo>
                <a:cubicBezTo>
                  <a:pt x="3811" y="3834"/>
                  <a:pt x="4096" y="4394"/>
                  <a:pt x="4537" y="4763"/>
                </a:cubicBezTo>
                <a:lnTo>
                  <a:pt x="4537" y="5335"/>
                </a:lnTo>
                <a:lnTo>
                  <a:pt x="4227" y="5656"/>
                </a:lnTo>
                <a:cubicBezTo>
                  <a:pt x="4204" y="5692"/>
                  <a:pt x="4180" y="5751"/>
                  <a:pt x="4180" y="5799"/>
                </a:cubicBezTo>
                <a:lnTo>
                  <a:pt x="3144" y="6168"/>
                </a:lnTo>
                <a:cubicBezTo>
                  <a:pt x="3073" y="6192"/>
                  <a:pt x="2989" y="6228"/>
                  <a:pt x="2930" y="6275"/>
                </a:cubicBezTo>
                <a:lnTo>
                  <a:pt x="2775" y="6180"/>
                </a:lnTo>
                <a:cubicBezTo>
                  <a:pt x="3263" y="5977"/>
                  <a:pt x="3406" y="5680"/>
                  <a:pt x="3430" y="5656"/>
                </a:cubicBezTo>
                <a:cubicBezTo>
                  <a:pt x="3454" y="5620"/>
                  <a:pt x="3454" y="5561"/>
                  <a:pt x="3430" y="5513"/>
                </a:cubicBezTo>
                <a:cubicBezTo>
                  <a:pt x="3311" y="5275"/>
                  <a:pt x="3287" y="4811"/>
                  <a:pt x="3275" y="4453"/>
                </a:cubicBezTo>
                <a:cubicBezTo>
                  <a:pt x="3275" y="4334"/>
                  <a:pt x="3263" y="4215"/>
                  <a:pt x="3263" y="4132"/>
                </a:cubicBezTo>
                <a:cubicBezTo>
                  <a:pt x="3204" y="3310"/>
                  <a:pt x="2596" y="2691"/>
                  <a:pt x="1822" y="2691"/>
                </a:cubicBezTo>
                <a:cubicBezTo>
                  <a:pt x="1060" y="2691"/>
                  <a:pt x="429" y="3310"/>
                  <a:pt x="370" y="4132"/>
                </a:cubicBezTo>
                <a:cubicBezTo>
                  <a:pt x="370" y="4227"/>
                  <a:pt x="358" y="4334"/>
                  <a:pt x="358" y="4453"/>
                </a:cubicBezTo>
                <a:cubicBezTo>
                  <a:pt x="346" y="4811"/>
                  <a:pt x="334" y="5263"/>
                  <a:pt x="215" y="5513"/>
                </a:cubicBezTo>
                <a:cubicBezTo>
                  <a:pt x="179" y="5561"/>
                  <a:pt x="179" y="5620"/>
                  <a:pt x="215" y="5656"/>
                </a:cubicBezTo>
                <a:cubicBezTo>
                  <a:pt x="215" y="5680"/>
                  <a:pt x="370" y="5977"/>
                  <a:pt x="870" y="6180"/>
                </a:cubicBezTo>
                <a:lnTo>
                  <a:pt x="406" y="6406"/>
                </a:lnTo>
                <a:cubicBezTo>
                  <a:pt x="167" y="6525"/>
                  <a:pt x="1" y="6775"/>
                  <a:pt x="1" y="7049"/>
                </a:cubicBezTo>
                <a:lnTo>
                  <a:pt x="1" y="8299"/>
                </a:lnTo>
                <a:cubicBezTo>
                  <a:pt x="1" y="8383"/>
                  <a:pt x="72" y="8454"/>
                  <a:pt x="167" y="8454"/>
                </a:cubicBezTo>
                <a:cubicBezTo>
                  <a:pt x="251" y="8454"/>
                  <a:pt x="334" y="8383"/>
                  <a:pt x="334" y="8299"/>
                </a:cubicBezTo>
                <a:lnTo>
                  <a:pt x="334" y="7049"/>
                </a:lnTo>
                <a:cubicBezTo>
                  <a:pt x="334" y="6894"/>
                  <a:pt x="406" y="6775"/>
                  <a:pt x="537" y="6704"/>
                </a:cubicBezTo>
                <a:lnTo>
                  <a:pt x="1108" y="6418"/>
                </a:lnTo>
                <a:lnTo>
                  <a:pt x="1299" y="6609"/>
                </a:lnTo>
                <a:cubicBezTo>
                  <a:pt x="1429" y="6751"/>
                  <a:pt x="1608" y="6811"/>
                  <a:pt x="1787" y="6811"/>
                </a:cubicBezTo>
                <a:cubicBezTo>
                  <a:pt x="1965" y="6811"/>
                  <a:pt x="2144" y="6751"/>
                  <a:pt x="2275" y="6609"/>
                </a:cubicBezTo>
                <a:lnTo>
                  <a:pt x="2477" y="6418"/>
                </a:lnTo>
                <a:lnTo>
                  <a:pt x="2656" y="6513"/>
                </a:lnTo>
                <a:cubicBezTo>
                  <a:pt x="2561" y="6644"/>
                  <a:pt x="2513" y="6811"/>
                  <a:pt x="2513" y="6990"/>
                </a:cubicBezTo>
                <a:lnTo>
                  <a:pt x="2513" y="8299"/>
                </a:lnTo>
                <a:cubicBezTo>
                  <a:pt x="2513" y="8383"/>
                  <a:pt x="2596" y="8454"/>
                  <a:pt x="2680" y="8454"/>
                </a:cubicBezTo>
                <a:cubicBezTo>
                  <a:pt x="2775" y="8454"/>
                  <a:pt x="2846" y="8383"/>
                  <a:pt x="2846" y="8299"/>
                </a:cubicBezTo>
                <a:lnTo>
                  <a:pt x="2846" y="6990"/>
                </a:lnTo>
                <a:cubicBezTo>
                  <a:pt x="2846" y="6751"/>
                  <a:pt x="2989" y="6537"/>
                  <a:pt x="3215" y="6466"/>
                </a:cubicBezTo>
                <a:lnTo>
                  <a:pt x="4323" y="6061"/>
                </a:lnTo>
                <a:lnTo>
                  <a:pt x="4775" y="6751"/>
                </a:lnTo>
                <a:cubicBezTo>
                  <a:pt x="4835" y="6835"/>
                  <a:pt x="4930" y="6894"/>
                  <a:pt x="5037" y="6894"/>
                </a:cubicBezTo>
                <a:lnTo>
                  <a:pt x="5061" y="6894"/>
                </a:lnTo>
                <a:cubicBezTo>
                  <a:pt x="5156" y="6894"/>
                  <a:pt x="5239" y="6870"/>
                  <a:pt x="5311" y="6787"/>
                </a:cubicBezTo>
                <a:lnTo>
                  <a:pt x="5597" y="6513"/>
                </a:lnTo>
                <a:lnTo>
                  <a:pt x="5597" y="8275"/>
                </a:lnTo>
                <a:cubicBezTo>
                  <a:pt x="5597" y="8371"/>
                  <a:pt x="5668" y="8442"/>
                  <a:pt x="5763" y="8442"/>
                </a:cubicBezTo>
                <a:cubicBezTo>
                  <a:pt x="5847" y="8442"/>
                  <a:pt x="5930" y="8371"/>
                  <a:pt x="5930" y="8275"/>
                </a:cubicBezTo>
                <a:lnTo>
                  <a:pt x="5930" y="6513"/>
                </a:lnTo>
                <a:lnTo>
                  <a:pt x="6204" y="6787"/>
                </a:lnTo>
                <a:cubicBezTo>
                  <a:pt x="6263" y="6847"/>
                  <a:pt x="6359" y="6894"/>
                  <a:pt x="6466" y="6894"/>
                </a:cubicBezTo>
                <a:lnTo>
                  <a:pt x="6490" y="6894"/>
                </a:lnTo>
                <a:cubicBezTo>
                  <a:pt x="6597" y="6882"/>
                  <a:pt x="6680" y="6835"/>
                  <a:pt x="6740" y="6751"/>
                </a:cubicBezTo>
                <a:lnTo>
                  <a:pt x="7204" y="6061"/>
                </a:lnTo>
                <a:lnTo>
                  <a:pt x="8311" y="6466"/>
                </a:lnTo>
                <a:cubicBezTo>
                  <a:pt x="8526" y="6537"/>
                  <a:pt x="8680" y="6751"/>
                  <a:pt x="8680" y="6990"/>
                </a:cubicBezTo>
                <a:lnTo>
                  <a:pt x="8680" y="8299"/>
                </a:lnTo>
                <a:cubicBezTo>
                  <a:pt x="8680" y="8383"/>
                  <a:pt x="8752" y="8454"/>
                  <a:pt x="8847" y="8454"/>
                </a:cubicBezTo>
                <a:cubicBezTo>
                  <a:pt x="8930" y="8454"/>
                  <a:pt x="9002" y="8383"/>
                  <a:pt x="9002" y="8299"/>
                </a:cubicBezTo>
                <a:lnTo>
                  <a:pt x="9002" y="6990"/>
                </a:lnTo>
                <a:cubicBezTo>
                  <a:pt x="9002" y="6751"/>
                  <a:pt x="8919" y="6525"/>
                  <a:pt x="8752" y="6358"/>
                </a:cubicBezTo>
                <a:lnTo>
                  <a:pt x="8799" y="6347"/>
                </a:lnTo>
                <a:cubicBezTo>
                  <a:pt x="8847" y="6335"/>
                  <a:pt x="8907" y="6311"/>
                  <a:pt x="8966" y="6287"/>
                </a:cubicBezTo>
                <a:lnTo>
                  <a:pt x="9395" y="6716"/>
                </a:lnTo>
                <a:lnTo>
                  <a:pt x="9395" y="8275"/>
                </a:lnTo>
                <a:cubicBezTo>
                  <a:pt x="9395" y="8371"/>
                  <a:pt x="9466" y="8442"/>
                  <a:pt x="9561" y="8442"/>
                </a:cubicBezTo>
                <a:cubicBezTo>
                  <a:pt x="9645" y="8442"/>
                  <a:pt x="9728" y="8371"/>
                  <a:pt x="9728" y="8275"/>
                </a:cubicBezTo>
                <a:lnTo>
                  <a:pt x="9728" y="6716"/>
                </a:lnTo>
                <a:lnTo>
                  <a:pt x="10157" y="6287"/>
                </a:lnTo>
                <a:cubicBezTo>
                  <a:pt x="10181" y="6299"/>
                  <a:pt x="10204" y="6299"/>
                  <a:pt x="10228" y="6311"/>
                </a:cubicBezTo>
                <a:lnTo>
                  <a:pt x="10931" y="6513"/>
                </a:lnTo>
                <a:cubicBezTo>
                  <a:pt x="11097" y="6549"/>
                  <a:pt x="11193" y="6704"/>
                  <a:pt x="11193" y="6870"/>
                </a:cubicBezTo>
                <a:lnTo>
                  <a:pt x="11193" y="8263"/>
                </a:lnTo>
                <a:cubicBezTo>
                  <a:pt x="11193" y="8359"/>
                  <a:pt x="11276" y="8430"/>
                  <a:pt x="11359" y="8430"/>
                </a:cubicBezTo>
                <a:cubicBezTo>
                  <a:pt x="11455" y="8430"/>
                  <a:pt x="11526" y="8359"/>
                  <a:pt x="11526" y="8263"/>
                </a:cubicBezTo>
                <a:lnTo>
                  <a:pt x="11526" y="6870"/>
                </a:lnTo>
                <a:cubicBezTo>
                  <a:pt x="11538" y="6597"/>
                  <a:pt x="11335" y="6311"/>
                  <a:pt x="11014" y="6228"/>
                </a:cubicBezTo>
                <a:lnTo>
                  <a:pt x="10323" y="6037"/>
                </a:lnTo>
                <a:cubicBezTo>
                  <a:pt x="10288" y="6013"/>
                  <a:pt x="10276" y="6001"/>
                  <a:pt x="10276" y="5954"/>
                </a:cubicBezTo>
                <a:lnTo>
                  <a:pt x="10276" y="5716"/>
                </a:lnTo>
                <a:cubicBezTo>
                  <a:pt x="10335" y="5680"/>
                  <a:pt x="10383" y="5632"/>
                  <a:pt x="10443" y="5585"/>
                </a:cubicBezTo>
                <a:cubicBezTo>
                  <a:pt x="10693" y="5346"/>
                  <a:pt x="10824" y="5025"/>
                  <a:pt x="10824" y="4680"/>
                </a:cubicBezTo>
                <a:lnTo>
                  <a:pt x="10824" y="4346"/>
                </a:lnTo>
                <a:lnTo>
                  <a:pt x="10895" y="4215"/>
                </a:lnTo>
                <a:cubicBezTo>
                  <a:pt x="10978" y="4072"/>
                  <a:pt x="11014" y="3906"/>
                  <a:pt x="11014" y="3739"/>
                </a:cubicBezTo>
                <a:lnTo>
                  <a:pt x="11014" y="2858"/>
                </a:lnTo>
                <a:cubicBezTo>
                  <a:pt x="11014" y="2775"/>
                  <a:pt x="10943" y="2691"/>
                  <a:pt x="10859" y="2691"/>
                </a:cubicBezTo>
                <a:lnTo>
                  <a:pt x="9216" y="2691"/>
                </a:lnTo>
                <a:cubicBezTo>
                  <a:pt x="8621" y="2691"/>
                  <a:pt x="8145" y="3180"/>
                  <a:pt x="8145" y="3775"/>
                </a:cubicBezTo>
                <a:lnTo>
                  <a:pt x="8145" y="3787"/>
                </a:lnTo>
                <a:cubicBezTo>
                  <a:pt x="8145" y="3918"/>
                  <a:pt x="8180" y="4072"/>
                  <a:pt x="8240" y="4192"/>
                </a:cubicBezTo>
                <a:lnTo>
                  <a:pt x="8323" y="4370"/>
                </a:lnTo>
                <a:lnTo>
                  <a:pt x="8323" y="4644"/>
                </a:lnTo>
                <a:cubicBezTo>
                  <a:pt x="8323" y="5096"/>
                  <a:pt x="8549" y="5477"/>
                  <a:pt x="8871" y="5716"/>
                </a:cubicBezTo>
                <a:lnTo>
                  <a:pt x="8871" y="5954"/>
                </a:lnTo>
                <a:cubicBezTo>
                  <a:pt x="8871" y="6001"/>
                  <a:pt x="8871" y="6013"/>
                  <a:pt x="8740" y="6049"/>
                </a:cubicBezTo>
                <a:lnTo>
                  <a:pt x="8395" y="6156"/>
                </a:lnTo>
                <a:lnTo>
                  <a:pt x="7418" y="5799"/>
                </a:lnTo>
                <a:cubicBezTo>
                  <a:pt x="7418" y="5751"/>
                  <a:pt x="7406" y="5704"/>
                  <a:pt x="7371" y="5656"/>
                </a:cubicBezTo>
                <a:lnTo>
                  <a:pt x="7061" y="5335"/>
                </a:lnTo>
                <a:lnTo>
                  <a:pt x="7061" y="4787"/>
                </a:lnTo>
                <a:cubicBezTo>
                  <a:pt x="7085" y="4751"/>
                  <a:pt x="7121" y="4727"/>
                  <a:pt x="7168" y="4692"/>
                </a:cubicBezTo>
                <a:cubicBezTo>
                  <a:pt x="7561" y="4323"/>
                  <a:pt x="7787" y="3787"/>
                  <a:pt x="7787" y="3251"/>
                </a:cubicBezTo>
                <a:lnTo>
                  <a:pt x="7787" y="2799"/>
                </a:lnTo>
                <a:cubicBezTo>
                  <a:pt x="7906" y="2537"/>
                  <a:pt x="7966" y="2263"/>
                  <a:pt x="7966" y="1989"/>
                </a:cubicBezTo>
                <a:lnTo>
                  <a:pt x="7966" y="167"/>
                </a:lnTo>
                <a:cubicBezTo>
                  <a:pt x="7966" y="84"/>
                  <a:pt x="7895" y="1"/>
                  <a:pt x="779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84" name="Google Shape;326;p20">
            <a:extLst>
              <a:ext uri="{FF2B5EF4-FFF2-40B4-BE49-F238E27FC236}">
                <a16:creationId xmlns:a16="http://schemas.microsoft.com/office/drawing/2014/main" id="{D51ADD19-67F3-233B-7B4F-9EC4DA745109}"/>
              </a:ext>
            </a:extLst>
          </p:cNvPr>
          <p:cNvSpPr txBox="1"/>
          <p:nvPr/>
        </p:nvSpPr>
        <p:spPr>
          <a:xfrm>
            <a:off x="4485606" y="3260213"/>
            <a:ext cx="2160000" cy="805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>
              <a:defRPr lang="en-US"/>
            </a:defPPr>
            <a:lvl1pPr algn="just">
              <a:defRPr sz="1200">
                <a:latin typeface="Roboto"/>
                <a:ea typeface="Roboto"/>
                <a:cs typeface="Roboto"/>
              </a:defRPr>
            </a:lvl1pPr>
          </a:lstStyle>
          <a:p>
            <a:pPr algn="ctr"/>
            <a:r>
              <a:rPr lang="es-ES" sz="1400" b="1" dirty="0">
                <a:solidFill>
                  <a:srgbClr val="7994B8"/>
                </a:solidFill>
                <a:latin typeface="+mj-lt"/>
                <a:ea typeface="Fira Sans Extra Condensed Medium"/>
                <a:cs typeface="Fira Sans Extra Condensed Medium"/>
                <a:sym typeface="Fira Sans Extra Condensed Medium"/>
              </a:rPr>
              <a:t>SOCIOS TECNOLÓGICOS</a:t>
            </a:r>
          </a:p>
        </p:txBody>
      </p:sp>
      <p:grpSp>
        <p:nvGrpSpPr>
          <p:cNvPr id="270" name="Grupo 269">
            <a:extLst>
              <a:ext uri="{FF2B5EF4-FFF2-40B4-BE49-F238E27FC236}">
                <a16:creationId xmlns:a16="http://schemas.microsoft.com/office/drawing/2014/main" id="{A26B63BE-17A3-0842-993B-2FEF29FC7130}"/>
              </a:ext>
            </a:extLst>
          </p:cNvPr>
          <p:cNvGrpSpPr/>
          <p:nvPr/>
        </p:nvGrpSpPr>
        <p:grpSpPr>
          <a:xfrm>
            <a:off x="686755" y="4578238"/>
            <a:ext cx="520811" cy="520811"/>
            <a:chOff x="667705" y="4463938"/>
            <a:chExt cx="520811" cy="520811"/>
          </a:xfrm>
        </p:grpSpPr>
        <p:pic>
          <p:nvPicPr>
            <p:cNvPr id="265" name="Gráfico 264" descr="Ojo con relleno sólido">
              <a:extLst>
                <a:ext uri="{FF2B5EF4-FFF2-40B4-BE49-F238E27FC236}">
                  <a16:creationId xmlns:a16="http://schemas.microsoft.com/office/drawing/2014/main" id="{5B42F01A-D050-1EF9-50FE-3671DC95F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06030" y="4502263"/>
              <a:ext cx="444160" cy="444160"/>
            </a:xfrm>
            <a:prstGeom prst="rect">
              <a:avLst/>
            </a:prstGeom>
          </p:spPr>
        </p:pic>
        <p:pic>
          <p:nvPicPr>
            <p:cNvPr id="269" name="Gráfico 268" descr="Cerrar con relleno sólido">
              <a:extLst>
                <a:ext uri="{FF2B5EF4-FFF2-40B4-BE49-F238E27FC236}">
                  <a16:creationId xmlns:a16="http://schemas.microsoft.com/office/drawing/2014/main" id="{9804DB2C-CE60-CA1F-A616-F0C3CECA9C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7705" y="4463938"/>
              <a:ext cx="520811" cy="520811"/>
            </a:xfrm>
            <a:prstGeom prst="rect">
              <a:avLst/>
            </a:prstGeom>
          </p:spPr>
        </p:pic>
      </p:grpSp>
      <p:pic>
        <p:nvPicPr>
          <p:cNvPr id="1028" name="Picture 4" descr="avería en la ilustración del contorno del vector del icono del cable  eléctrico 9928439 Vector en Vecteezy">
            <a:extLst>
              <a:ext uri="{FF2B5EF4-FFF2-40B4-BE49-F238E27FC236}">
                <a16:creationId xmlns:a16="http://schemas.microsoft.com/office/drawing/2014/main" id="{F6D6EB4D-46DA-DB2B-B1F8-D8E26ED6A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52755" y1="41939" x2="52755" y2="41939"/>
                        <a14:foregroundMark x1="59286" y1="41327" x2="59286" y2="413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017" y="4503653"/>
            <a:ext cx="634551" cy="634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2" name="Gráfico 271" descr="Reciclaje con relleno sólido">
            <a:extLst>
              <a:ext uri="{FF2B5EF4-FFF2-40B4-BE49-F238E27FC236}">
                <a16:creationId xmlns:a16="http://schemas.microsoft.com/office/drawing/2014/main" id="{EBAF3266-880F-DDF9-4D82-F283D3A05E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43777" y="4632433"/>
            <a:ext cx="412420" cy="412420"/>
          </a:xfrm>
          <a:prstGeom prst="rect">
            <a:avLst/>
          </a:prstGeom>
        </p:spPr>
      </p:pic>
      <p:pic>
        <p:nvPicPr>
          <p:cNvPr id="1032" name="Picture 8" descr="LCOE - Laboratorio Central Oficial de Electrotecnia | LinkedIn">
            <a:extLst>
              <a:ext uri="{FF2B5EF4-FFF2-40B4-BE49-F238E27FC236}">
                <a16:creationId xmlns:a16="http://schemas.microsoft.com/office/drawing/2014/main" id="{D65B0EB3-62D0-9D77-A98A-BF52F4C066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02" b="25317"/>
          <a:stretch/>
        </p:blipFill>
        <p:spPr bwMode="auto">
          <a:xfrm>
            <a:off x="4957951" y="3918527"/>
            <a:ext cx="1215311" cy="57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hemar Latam | LinkedIn">
            <a:extLst>
              <a:ext uri="{FF2B5EF4-FFF2-40B4-BE49-F238E27FC236}">
                <a16:creationId xmlns:a16="http://schemas.microsoft.com/office/drawing/2014/main" id="{9FEB11D6-9830-C0E8-CF04-5C6C722AB5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26" b="32245"/>
          <a:stretch/>
        </p:blipFill>
        <p:spPr bwMode="auto">
          <a:xfrm>
            <a:off x="4995812" y="4470827"/>
            <a:ext cx="1139589" cy="372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ovotec | Gestión eficiente de organizaciones">
            <a:extLst>
              <a:ext uri="{FF2B5EF4-FFF2-40B4-BE49-F238E27FC236}">
                <a16:creationId xmlns:a16="http://schemas.microsoft.com/office/drawing/2014/main" id="{A40955BE-B46E-61B8-C98D-429EEF919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440" y="4698239"/>
            <a:ext cx="1256332" cy="53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4" name="Google Shape;331;p20">
            <a:extLst>
              <a:ext uri="{FF2B5EF4-FFF2-40B4-BE49-F238E27FC236}">
                <a16:creationId xmlns:a16="http://schemas.microsoft.com/office/drawing/2014/main" id="{D99A3243-C494-F0B1-8671-3E4676E025A5}"/>
              </a:ext>
            </a:extLst>
          </p:cNvPr>
          <p:cNvSpPr txBox="1">
            <a:spLocks/>
          </p:cNvSpPr>
          <p:nvPr/>
        </p:nvSpPr>
        <p:spPr>
          <a:xfrm>
            <a:off x="7899404" y="1270549"/>
            <a:ext cx="3216256" cy="6416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s-ES" sz="2000" dirty="0">
                <a:solidFill>
                  <a:srgbClr val="212E3E"/>
                </a:solidFill>
              </a:rPr>
              <a:t>UBICACIONES PILOTOS</a:t>
            </a:r>
          </a:p>
        </p:txBody>
      </p:sp>
      <p:sp>
        <p:nvSpPr>
          <p:cNvPr id="30" name="Google Shape;487;p23">
            <a:extLst>
              <a:ext uri="{FF2B5EF4-FFF2-40B4-BE49-F238E27FC236}">
                <a16:creationId xmlns:a16="http://schemas.microsoft.com/office/drawing/2014/main" id="{D4EC22F0-6B3B-BED3-CC8B-E22558DA171B}"/>
              </a:ext>
            </a:extLst>
          </p:cNvPr>
          <p:cNvSpPr/>
          <p:nvPr/>
        </p:nvSpPr>
        <p:spPr>
          <a:xfrm>
            <a:off x="1683029" y="5779292"/>
            <a:ext cx="1142547" cy="1354197"/>
          </a:xfrm>
          <a:prstGeom prst="arc">
            <a:avLst>
              <a:gd name="adj1" fmla="val 10799969"/>
              <a:gd name="adj2" fmla="val 18223946"/>
            </a:avLst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triangl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B19CA9C7-888D-991E-DCD9-3ED75F3A676D}"/>
              </a:ext>
            </a:extLst>
          </p:cNvPr>
          <p:cNvGrpSpPr/>
          <p:nvPr/>
        </p:nvGrpSpPr>
        <p:grpSpPr>
          <a:xfrm>
            <a:off x="9009945" y="5520161"/>
            <a:ext cx="2998051" cy="1111817"/>
            <a:chOff x="8833918" y="5535207"/>
            <a:chExt cx="2998051" cy="1111817"/>
          </a:xfrm>
        </p:grpSpPr>
        <p:sp>
          <p:nvSpPr>
            <p:cNvPr id="40" name="Rectángulo: esquinas redondeadas 39">
              <a:extLst>
                <a:ext uri="{FF2B5EF4-FFF2-40B4-BE49-F238E27FC236}">
                  <a16:creationId xmlns:a16="http://schemas.microsoft.com/office/drawing/2014/main" id="{DA1E258C-77F1-8561-F0DB-EA7234D39581}"/>
                </a:ext>
              </a:extLst>
            </p:cNvPr>
            <p:cNvSpPr/>
            <p:nvPr/>
          </p:nvSpPr>
          <p:spPr>
            <a:xfrm>
              <a:off x="8833918" y="5535207"/>
              <a:ext cx="2870191" cy="1111817"/>
            </a:xfrm>
            <a:prstGeom prst="roundRect">
              <a:avLst/>
            </a:prstGeom>
            <a:solidFill>
              <a:srgbClr val="53729B"/>
            </a:solidFill>
            <a:ln w="19050" cap="sq">
              <a:solidFill>
                <a:srgbClr val="212E3E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Google Shape;326;p20">
              <a:extLst>
                <a:ext uri="{FF2B5EF4-FFF2-40B4-BE49-F238E27FC236}">
                  <a16:creationId xmlns:a16="http://schemas.microsoft.com/office/drawing/2014/main" id="{1C9CF764-257C-BC88-AA64-8FDE85510D43}"/>
                </a:ext>
              </a:extLst>
            </p:cNvPr>
            <p:cNvSpPr txBox="1"/>
            <p:nvPr/>
          </p:nvSpPr>
          <p:spPr>
            <a:xfrm>
              <a:off x="9593791" y="5690157"/>
              <a:ext cx="2238178" cy="7845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>
                <a:defRPr lang="en-US"/>
              </a:defPPr>
              <a:lvl1pPr algn="just">
                <a:defRPr sz="1200">
                  <a:latin typeface="Roboto"/>
                  <a:ea typeface="Roboto"/>
                  <a:cs typeface="Roboto"/>
                </a:defRPr>
              </a:lvl1pPr>
            </a:lstStyle>
            <a:p>
              <a:pPr algn="ctr"/>
              <a:r>
                <a:rPr lang="es-ES" sz="1800" b="1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MEJORA DE CALIDAD DE SUMINISTRO</a:t>
              </a:r>
              <a:endParaRPr lang="en" sz="1600" b="1" dirty="0">
                <a:solidFill>
                  <a:schemeClr val="bg1"/>
                </a:solidFill>
                <a:latin typeface="+mj-lt"/>
                <a:sym typeface="Roboto"/>
              </a:endParaRPr>
            </a:p>
          </p:txBody>
        </p:sp>
        <p:grpSp>
          <p:nvGrpSpPr>
            <p:cNvPr id="23" name="Google Shape;1564;p45">
              <a:extLst>
                <a:ext uri="{FF2B5EF4-FFF2-40B4-BE49-F238E27FC236}">
                  <a16:creationId xmlns:a16="http://schemas.microsoft.com/office/drawing/2014/main" id="{7CDADE74-9143-8A1A-B252-A3C50447D926}"/>
                </a:ext>
              </a:extLst>
            </p:cNvPr>
            <p:cNvGrpSpPr/>
            <p:nvPr/>
          </p:nvGrpSpPr>
          <p:grpSpPr>
            <a:xfrm>
              <a:off x="9098619" y="5765188"/>
              <a:ext cx="644046" cy="653686"/>
              <a:chOff x="4210933" y="2450951"/>
              <a:chExt cx="327240" cy="332138"/>
            </a:xfrm>
          </p:grpSpPr>
          <p:sp>
            <p:nvSpPr>
              <p:cNvPr id="24" name="Google Shape;1565;p45">
                <a:extLst>
                  <a:ext uri="{FF2B5EF4-FFF2-40B4-BE49-F238E27FC236}">
                    <a16:creationId xmlns:a16="http://schemas.microsoft.com/office/drawing/2014/main" id="{0FA3D8FB-0D80-2055-D194-22E8E5F202C2}"/>
                  </a:ext>
                </a:extLst>
              </p:cNvPr>
              <p:cNvSpPr/>
              <p:nvPr/>
            </p:nvSpPr>
            <p:spPr>
              <a:xfrm>
                <a:off x="4216022" y="2581414"/>
                <a:ext cx="322151" cy="201675"/>
              </a:xfrm>
              <a:custGeom>
                <a:avLst/>
                <a:gdLst/>
                <a:ahLst/>
                <a:cxnLst/>
                <a:rect l="l" t="t" r="r" b="b"/>
                <a:pathLst>
                  <a:path w="10121" h="6336" extrusionOk="0">
                    <a:moveTo>
                      <a:pt x="2691" y="2847"/>
                    </a:moveTo>
                    <a:lnTo>
                      <a:pt x="2691" y="6037"/>
                    </a:lnTo>
                    <a:lnTo>
                      <a:pt x="1393" y="6037"/>
                    </a:lnTo>
                    <a:lnTo>
                      <a:pt x="1393" y="2847"/>
                    </a:lnTo>
                    <a:close/>
                    <a:moveTo>
                      <a:pt x="5703" y="2049"/>
                    </a:moveTo>
                    <a:lnTo>
                      <a:pt x="5703" y="6037"/>
                    </a:lnTo>
                    <a:lnTo>
                      <a:pt x="4406" y="6037"/>
                    </a:lnTo>
                    <a:lnTo>
                      <a:pt x="4406" y="2049"/>
                    </a:lnTo>
                    <a:close/>
                    <a:moveTo>
                      <a:pt x="8704" y="299"/>
                    </a:moveTo>
                    <a:lnTo>
                      <a:pt x="8704" y="6037"/>
                    </a:lnTo>
                    <a:lnTo>
                      <a:pt x="7406" y="6037"/>
                    </a:lnTo>
                    <a:lnTo>
                      <a:pt x="7406" y="299"/>
                    </a:lnTo>
                    <a:close/>
                    <a:moveTo>
                      <a:pt x="7275" y="1"/>
                    </a:moveTo>
                    <a:cubicBezTo>
                      <a:pt x="7192" y="1"/>
                      <a:pt x="7132" y="61"/>
                      <a:pt x="7132" y="156"/>
                    </a:cubicBezTo>
                    <a:lnTo>
                      <a:pt x="7132" y="6037"/>
                    </a:lnTo>
                    <a:lnTo>
                      <a:pt x="6001" y="6037"/>
                    </a:lnTo>
                    <a:lnTo>
                      <a:pt x="6001" y="1894"/>
                    </a:lnTo>
                    <a:cubicBezTo>
                      <a:pt x="6001" y="1811"/>
                      <a:pt x="5941" y="1751"/>
                      <a:pt x="5846" y="1751"/>
                    </a:cubicBezTo>
                    <a:lnTo>
                      <a:pt x="4275" y="1751"/>
                    </a:lnTo>
                    <a:cubicBezTo>
                      <a:pt x="4179" y="1751"/>
                      <a:pt x="4120" y="1811"/>
                      <a:pt x="4120" y="1894"/>
                    </a:cubicBezTo>
                    <a:lnTo>
                      <a:pt x="4120" y="6037"/>
                    </a:lnTo>
                    <a:lnTo>
                      <a:pt x="2989" y="6037"/>
                    </a:lnTo>
                    <a:lnTo>
                      <a:pt x="2989" y="2704"/>
                    </a:lnTo>
                    <a:cubicBezTo>
                      <a:pt x="2989" y="2608"/>
                      <a:pt x="2929" y="2549"/>
                      <a:pt x="2846" y="2549"/>
                    </a:cubicBezTo>
                    <a:lnTo>
                      <a:pt x="1262" y="2549"/>
                    </a:lnTo>
                    <a:cubicBezTo>
                      <a:pt x="1167" y="2549"/>
                      <a:pt x="1119" y="2608"/>
                      <a:pt x="1119" y="2704"/>
                    </a:cubicBezTo>
                    <a:lnTo>
                      <a:pt x="1119" y="6037"/>
                    </a:lnTo>
                    <a:lnTo>
                      <a:pt x="143" y="6037"/>
                    </a:lnTo>
                    <a:cubicBezTo>
                      <a:pt x="60" y="6037"/>
                      <a:pt x="0" y="6097"/>
                      <a:pt x="0" y="6180"/>
                    </a:cubicBezTo>
                    <a:cubicBezTo>
                      <a:pt x="0" y="6276"/>
                      <a:pt x="60" y="6335"/>
                      <a:pt x="143" y="6335"/>
                    </a:cubicBezTo>
                    <a:lnTo>
                      <a:pt x="9966" y="6335"/>
                    </a:lnTo>
                    <a:cubicBezTo>
                      <a:pt x="10061" y="6335"/>
                      <a:pt x="10121" y="6276"/>
                      <a:pt x="10121" y="6180"/>
                    </a:cubicBezTo>
                    <a:cubicBezTo>
                      <a:pt x="10121" y="6109"/>
                      <a:pt x="10049" y="6037"/>
                      <a:pt x="9966" y="6037"/>
                    </a:cubicBezTo>
                    <a:lnTo>
                      <a:pt x="9001" y="6037"/>
                    </a:lnTo>
                    <a:lnTo>
                      <a:pt x="9001" y="156"/>
                    </a:lnTo>
                    <a:cubicBezTo>
                      <a:pt x="9001" y="61"/>
                      <a:pt x="8942" y="1"/>
                      <a:pt x="8859" y="1"/>
                    </a:cubicBezTo>
                    <a:close/>
                  </a:path>
                </a:pathLst>
              </a:custGeom>
              <a:solidFill>
                <a:srgbClr val="00DD2B"/>
              </a:solidFill>
              <a:ln>
                <a:solidFill>
                  <a:srgbClr val="00DD2B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1"/>
              </a:p>
            </p:txBody>
          </p:sp>
          <p:sp>
            <p:nvSpPr>
              <p:cNvPr id="25" name="Google Shape;1566;p45">
                <a:extLst>
                  <a:ext uri="{FF2B5EF4-FFF2-40B4-BE49-F238E27FC236}">
                    <a16:creationId xmlns:a16="http://schemas.microsoft.com/office/drawing/2014/main" id="{8BEAD51F-00FF-AB34-32D2-79755E485D63}"/>
                  </a:ext>
                </a:extLst>
              </p:cNvPr>
              <p:cNvSpPr/>
              <p:nvPr/>
            </p:nvSpPr>
            <p:spPr>
              <a:xfrm>
                <a:off x="4210933" y="2450951"/>
                <a:ext cx="308878" cy="185537"/>
              </a:xfrm>
              <a:custGeom>
                <a:avLst/>
                <a:gdLst/>
                <a:ahLst/>
                <a:cxnLst/>
                <a:rect l="l" t="t" r="r" b="b"/>
                <a:pathLst>
                  <a:path w="9704" h="5829" extrusionOk="0">
                    <a:moveTo>
                      <a:pt x="9212" y="1"/>
                    </a:moveTo>
                    <a:cubicBezTo>
                      <a:pt x="9189" y="1"/>
                      <a:pt x="9167" y="3"/>
                      <a:pt x="9144" y="7"/>
                    </a:cubicBezTo>
                    <a:lnTo>
                      <a:pt x="7870" y="162"/>
                    </a:lnTo>
                    <a:cubicBezTo>
                      <a:pt x="7620" y="197"/>
                      <a:pt x="7442" y="435"/>
                      <a:pt x="7477" y="685"/>
                    </a:cubicBezTo>
                    <a:cubicBezTo>
                      <a:pt x="7500" y="920"/>
                      <a:pt x="7711" y="1092"/>
                      <a:pt x="7944" y="1092"/>
                    </a:cubicBezTo>
                    <a:cubicBezTo>
                      <a:pt x="7959" y="1092"/>
                      <a:pt x="7974" y="1092"/>
                      <a:pt x="7989" y="1090"/>
                    </a:cubicBezTo>
                    <a:lnTo>
                      <a:pt x="8096" y="1066"/>
                    </a:lnTo>
                    <a:lnTo>
                      <a:pt x="8096" y="1066"/>
                    </a:lnTo>
                    <a:cubicBezTo>
                      <a:pt x="6537" y="2876"/>
                      <a:pt x="4691" y="3805"/>
                      <a:pt x="3382" y="4269"/>
                    </a:cubicBezTo>
                    <a:cubicBezTo>
                      <a:pt x="1739" y="4853"/>
                      <a:pt x="476" y="4912"/>
                      <a:pt x="465" y="4912"/>
                    </a:cubicBezTo>
                    <a:cubicBezTo>
                      <a:pt x="203" y="4924"/>
                      <a:pt x="0" y="5138"/>
                      <a:pt x="12" y="5388"/>
                    </a:cubicBezTo>
                    <a:cubicBezTo>
                      <a:pt x="36" y="5638"/>
                      <a:pt x="226" y="5829"/>
                      <a:pt x="476" y="5829"/>
                    </a:cubicBezTo>
                    <a:lnTo>
                      <a:pt x="488" y="5829"/>
                    </a:lnTo>
                    <a:cubicBezTo>
                      <a:pt x="548" y="5829"/>
                      <a:pt x="1893" y="5793"/>
                      <a:pt x="3667" y="5150"/>
                    </a:cubicBezTo>
                    <a:cubicBezTo>
                      <a:pt x="4656" y="4793"/>
                      <a:pt x="5596" y="4317"/>
                      <a:pt x="6442" y="3745"/>
                    </a:cubicBezTo>
                    <a:cubicBezTo>
                      <a:pt x="6525" y="3710"/>
                      <a:pt x="6537" y="3614"/>
                      <a:pt x="6489" y="3543"/>
                    </a:cubicBezTo>
                    <a:cubicBezTo>
                      <a:pt x="6458" y="3497"/>
                      <a:pt x="6413" y="3471"/>
                      <a:pt x="6365" y="3471"/>
                    </a:cubicBezTo>
                    <a:cubicBezTo>
                      <a:pt x="6339" y="3471"/>
                      <a:pt x="6312" y="3478"/>
                      <a:pt x="6287" y="3495"/>
                    </a:cubicBezTo>
                    <a:cubicBezTo>
                      <a:pt x="5453" y="4067"/>
                      <a:pt x="4537" y="4519"/>
                      <a:pt x="3560" y="4865"/>
                    </a:cubicBezTo>
                    <a:cubicBezTo>
                      <a:pt x="1834" y="5484"/>
                      <a:pt x="536" y="5519"/>
                      <a:pt x="476" y="5531"/>
                    </a:cubicBezTo>
                    <a:cubicBezTo>
                      <a:pt x="393" y="5531"/>
                      <a:pt x="310" y="5460"/>
                      <a:pt x="310" y="5377"/>
                    </a:cubicBezTo>
                    <a:cubicBezTo>
                      <a:pt x="310" y="5281"/>
                      <a:pt x="393" y="5210"/>
                      <a:pt x="476" y="5198"/>
                    </a:cubicBezTo>
                    <a:cubicBezTo>
                      <a:pt x="488" y="5198"/>
                      <a:pt x="1798" y="5150"/>
                      <a:pt x="3489" y="4543"/>
                    </a:cubicBezTo>
                    <a:cubicBezTo>
                      <a:pt x="4894" y="4031"/>
                      <a:pt x="6918" y="3007"/>
                      <a:pt x="8573" y="947"/>
                    </a:cubicBezTo>
                    <a:cubicBezTo>
                      <a:pt x="8664" y="856"/>
                      <a:pt x="8579" y="709"/>
                      <a:pt x="8456" y="709"/>
                    </a:cubicBezTo>
                    <a:cubicBezTo>
                      <a:pt x="8451" y="709"/>
                      <a:pt x="8447" y="709"/>
                      <a:pt x="8442" y="709"/>
                    </a:cubicBezTo>
                    <a:lnTo>
                      <a:pt x="7966" y="769"/>
                    </a:lnTo>
                    <a:cubicBezTo>
                      <a:pt x="7951" y="772"/>
                      <a:pt x="7937" y="774"/>
                      <a:pt x="7924" y="774"/>
                    </a:cubicBezTo>
                    <a:cubicBezTo>
                      <a:pt x="7850" y="774"/>
                      <a:pt x="7797" y="720"/>
                      <a:pt x="7787" y="650"/>
                    </a:cubicBezTo>
                    <a:cubicBezTo>
                      <a:pt x="7751" y="554"/>
                      <a:pt x="7835" y="459"/>
                      <a:pt x="7930" y="447"/>
                    </a:cubicBezTo>
                    <a:lnTo>
                      <a:pt x="9204" y="281"/>
                    </a:lnTo>
                    <a:cubicBezTo>
                      <a:pt x="9210" y="280"/>
                      <a:pt x="9216" y="280"/>
                      <a:pt x="9222" y="280"/>
                    </a:cubicBezTo>
                    <a:cubicBezTo>
                      <a:pt x="9311" y="280"/>
                      <a:pt x="9394" y="358"/>
                      <a:pt x="9394" y="447"/>
                    </a:cubicBezTo>
                    <a:lnTo>
                      <a:pt x="9394" y="1709"/>
                    </a:lnTo>
                    <a:cubicBezTo>
                      <a:pt x="9394" y="1805"/>
                      <a:pt x="9323" y="1876"/>
                      <a:pt x="9228" y="1876"/>
                    </a:cubicBezTo>
                    <a:cubicBezTo>
                      <a:pt x="9132" y="1876"/>
                      <a:pt x="9061" y="1805"/>
                      <a:pt x="9061" y="1709"/>
                    </a:cubicBezTo>
                    <a:lnTo>
                      <a:pt x="9061" y="1328"/>
                    </a:lnTo>
                    <a:cubicBezTo>
                      <a:pt x="9061" y="1269"/>
                      <a:pt x="9025" y="1209"/>
                      <a:pt x="8978" y="1186"/>
                    </a:cubicBezTo>
                    <a:cubicBezTo>
                      <a:pt x="8963" y="1183"/>
                      <a:pt x="8948" y="1181"/>
                      <a:pt x="8932" y="1181"/>
                    </a:cubicBezTo>
                    <a:cubicBezTo>
                      <a:pt x="8882" y="1181"/>
                      <a:pt x="8829" y="1197"/>
                      <a:pt x="8811" y="1233"/>
                    </a:cubicBezTo>
                    <a:cubicBezTo>
                      <a:pt x="8263" y="1924"/>
                      <a:pt x="7620" y="2531"/>
                      <a:pt x="6930" y="3067"/>
                    </a:cubicBezTo>
                    <a:cubicBezTo>
                      <a:pt x="6870" y="3114"/>
                      <a:pt x="6858" y="3210"/>
                      <a:pt x="6906" y="3269"/>
                    </a:cubicBezTo>
                    <a:cubicBezTo>
                      <a:pt x="6936" y="3307"/>
                      <a:pt x="6985" y="3330"/>
                      <a:pt x="7032" y="3330"/>
                    </a:cubicBezTo>
                    <a:cubicBezTo>
                      <a:pt x="7060" y="3330"/>
                      <a:pt x="7086" y="3322"/>
                      <a:pt x="7108" y="3305"/>
                    </a:cubicBezTo>
                    <a:cubicBezTo>
                      <a:pt x="7704" y="2840"/>
                      <a:pt x="8275" y="2305"/>
                      <a:pt x="8775" y="1745"/>
                    </a:cubicBezTo>
                    <a:cubicBezTo>
                      <a:pt x="8799" y="1995"/>
                      <a:pt x="8989" y="2186"/>
                      <a:pt x="9239" y="2186"/>
                    </a:cubicBezTo>
                    <a:cubicBezTo>
                      <a:pt x="9490" y="2186"/>
                      <a:pt x="9704" y="1983"/>
                      <a:pt x="9704" y="1721"/>
                    </a:cubicBezTo>
                    <a:lnTo>
                      <a:pt x="9704" y="459"/>
                    </a:lnTo>
                    <a:cubicBezTo>
                      <a:pt x="9680" y="328"/>
                      <a:pt x="9620" y="209"/>
                      <a:pt x="9513" y="126"/>
                    </a:cubicBezTo>
                    <a:cubicBezTo>
                      <a:pt x="9425" y="47"/>
                      <a:pt x="9319" y="1"/>
                      <a:pt x="9212" y="1"/>
                    </a:cubicBezTo>
                    <a:close/>
                  </a:path>
                </a:pathLst>
              </a:custGeom>
              <a:solidFill>
                <a:srgbClr val="00DD2B"/>
              </a:solidFill>
              <a:ln>
                <a:solidFill>
                  <a:srgbClr val="00DD2B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1"/>
              </a:p>
            </p:txBody>
          </p:sp>
        </p:grp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E6268C5A-F7EC-0BF3-0AD5-09D46EC161C4}"/>
              </a:ext>
            </a:extLst>
          </p:cNvPr>
          <p:cNvGrpSpPr/>
          <p:nvPr/>
        </p:nvGrpSpPr>
        <p:grpSpPr>
          <a:xfrm>
            <a:off x="413126" y="5884719"/>
            <a:ext cx="1635853" cy="784527"/>
            <a:chOff x="1138365" y="5694182"/>
            <a:chExt cx="1635853" cy="784527"/>
          </a:xfrm>
        </p:grpSpPr>
        <p:sp>
          <p:nvSpPr>
            <p:cNvPr id="2" name="Google Shape;1467;p43">
              <a:extLst>
                <a:ext uri="{FF2B5EF4-FFF2-40B4-BE49-F238E27FC236}">
                  <a16:creationId xmlns:a16="http://schemas.microsoft.com/office/drawing/2014/main" id="{5304F5D8-8C7B-2F5A-7C3A-5296CAD6FAA9}"/>
                </a:ext>
              </a:extLst>
            </p:cNvPr>
            <p:cNvSpPr/>
            <p:nvPr/>
          </p:nvSpPr>
          <p:spPr>
            <a:xfrm>
              <a:off x="1138365" y="5820327"/>
              <a:ext cx="1635853" cy="532236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9" name="Google Shape;326;p20">
              <a:extLst>
                <a:ext uri="{FF2B5EF4-FFF2-40B4-BE49-F238E27FC236}">
                  <a16:creationId xmlns:a16="http://schemas.microsoft.com/office/drawing/2014/main" id="{AFC3E2EC-7213-1E20-F0DB-A753A8158767}"/>
                </a:ext>
              </a:extLst>
            </p:cNvPr>
            <p:cNvSpPr txBox="1"/>
            <p:nvPr/>
          </p:nvSpPr>
          <p:spPr>
            <a:xfrm>
              <a:off x="1189108" y="5694182"/>
              <a:ext cx="1534366" cy="7845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>
                <a:defRPr lang="en-US"/>
              </a:defPPr>
              <a:lvl1pPr algn="just">
                <a:defRPr sz="1200">
                  <a:latin typeface="Roboto"/>
                  <a:ea typeface="Roboto"/>
                  <a:cs typeface="Roboto"/>
                </a:defRPr>
              </a:lvl1pPr>
            </a:lstStyle>
            <a:p>
              <a:pPr algn="ctr"/>
              <a:r>
                <a:rPr lang="es-ES" sz="1400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Eliminación de forros</a:t>
              </a:r>
              <a:endParaRPr lang="en" dirty="0">
                <a:solidFill>
                  <a:schemeClr val="bg1"/>
                </a:solidFill>
                <a:latin typeface="+mj-lt"/>
                <a:sym typeface="Roboto"/>
              </a:endParaRPr>
            </a:p>
          </p:txBody>
        </p:sp>
      </p:grpSp>
      <p:sp>
        <p:nvSpPr>
          <p:cNvPr id="31" name="Google Shape;487;p23">
            <a:extLst>
              <a:ext uri="{FF2B5EF4-FFF2-40B4-BE49-F238E27FC236}">
                <a16:creationId xmlns:a16="http://schemas.microsoft.com/office/drawing/2014/main" id="{C451561D-D7F7-0878-CA58-DEE7FAB959D8}"/>
              </a:ext>
            </a:extLst>
          </p:cNvPr>
          <p:cNvSpPr/>
          <p:nvPr/>
        </p:nvSpPr>
        <p:spPr>
          <a:xfrm>
            <a:off x="3716061" y="5779613"/>
            <a:ext cx="1142547" cy="1354197"/>
          </a:xfrm>
          <a:prstGeom prst="arc">
            <a:avLst>
              <a:gd name="adj1" fmla="val 10799969"/>
              <a:gd name="adj2" fmla="val 18223946"/>
            </a:avLst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triangl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487;p23">
            <a:extLst>
              <a:ext uri="{FF2B5EF4-FFF2-40B4-BE49-F238E27FC236}">
                <a16:creationId xmlns:a16="http://schemas.microsoft.com/office/drawing/2014/main" id="{253B8279-9F0F-4173-2783-C77A9A541683}"/>
              </a:ext>
            </a:extLst>
          </p:cNvPr>
          <p:cNvSpPr/>
          <p:nvPr/>
        </p:nvSpPr>
        <p:spPr>
          <a:xfrm>
            <a:off x="5775177" y="5786263"/>
            <a:ext cx="1142547" cy="1354197"/>
          </a:xfrm>
          <a:prstGeom prst="arc">
            <a:avLst>
              <a:gd name="adj1" fmla="val 10799969"/>
              <a:gd name="adj2" fmla="val 18223946"/>
            </a:avLst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triangl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8066C222-F4CE-8ADF-015D-05B63934AF68}"/>
              </a:ext>
            </a:extLst>
          </p:cNvPr>
          <p:cNvGrpSpPr/>
          <p:nvPr/>
        </p:nvGrpSpPr>
        <p:grpSpPr>
          <a:xfrm>
            <a:off x="2467562" y="5884719"/>
            <a:ext cx="1635853" cy="784527"/>
            <a:chOff x="1138365" y="5694182"/>
            <a:chExt cx="1635853" cy="784527"/>
          </a:xfrm>
        </p:grpSpPr>
        <p:sp>
          <p:nvSpPr>
            <p:cNvPr id="6" name="Google Shape;1467;p43">
              <a:extLst>
                <a:ext uri="{FF2B5EF4-FFF2-40B4-BE49-F238E27FC236}">
                  <a16:creationId xmlns:a16="http://schemas.microsoft.com/office/drawing/2014/main" id="{85443667-0B0B-7CEC-8613-917DCCA77A10}"/>
                </a:ext>
              </a:extLst>
            </p:cNvPr>
            <p:cNvSpPr/>
            <p:nvPr/>
          </p:nvSpPr>
          <p:spPr>
            <a:xfrm>
              <a:off x="1138365" y="5820327"/>
              <a:ext cx="1635853" cy="532236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6" name="Google Shape;326;p20">
              <a:extLst>
                <a:ext uri="{FF2B5EF4-FFF2-40B4-BE49-F238E27FC236}">
                  <a16:creationId xmlns:a16="http://schemas.microsoft.com/office/drawing/2014/main" id="{653915D7-BEBB-1BAC-E1A8-A47AD5312525}"/>
                </a:ext>
              </a:extLst>
            </p:cNvPr>
            <p:cNvSpPr txBox="1"/>
            <p:nvPr/>
          </p:nvSpPr>
          <p:spPr>
            <a:xfrm>
              <a:off x="1189108" y="5694182"/>
              <a:ext cx="1534366" cy="7845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>
                <a:defRPr lang="en-US"/>
              </a:defPPr>
              <a:lvl1pPr algn="just">
                <a:defRPr sz="1200">
                  <a:latin typeface="Roboto"/>
                  <a:ea typeface="Roboto"/>
                  <a:cs typeface="Roboto"/>
                </a:defRPr>
              </a:lvl1pPr>
            </a:lstStyle>
            <a:p>
              <a:pPr algn="ctr"/>
              <a:r>
                <a:rPr lang="es-ES" sz="1400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Eliminación de aisladores</a:t>
              </a:r>
              <a:endParaRPr lang="en" dirty="0">
                <a:solidFill>
                  <a:schemeClr val="bg1"/>
                </a:solidFill>
                <a:latin typeface="+mj-lt"/>
                <a:sym typeface="Roboto"/>
              </a:endParaRP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33BA5FF7-5535-8E3E-C6E1-1774411602AD}"/>
              </a:ext>
            </a:extLst>
          </p:cNvPr>
          <p:cNvGrpSpPr/>
          <p:nvPr/>
        </p:nvGrpSpPr>
        <p:grpSpPr>
          <a:xfrm>
            <a:off x="4521998" y="5884719"/>
            <a:ext cx="1635853" cy="784527"/>
            <a:chOff x="1138365" y="5694182"/>
            <a:chExt cx="1635853" cy="784527"/>
          </a:xfrm>
        </p:grpSpPr>
        <p:sp>
          <p:nvSpPr>
            <p:cNvPr id="19" name="Google Shape;1467;p43">
              <a:extLst>
                <a:ext uri="{FF2B5EF4-FFF2-40B4-BE49-F238E27FC236}">
                  <a16:creationId xmlns:a16="http://schemas.microsoft.com/office/drawing/2014/main" id="{59C66856-6F03-7B2B-5B61-04F34F3975AE}"/>
                </a:ext>
              </a:extLst>
            </p:cNvPr>
            <p:cNvSpPr/>
            <p:nvPr/>
          </p:nvSpPr>
          <p:spPr>
            <a:xfrm>
              <a:off x="1138365" y="5820327"/>
              <a:ext cx="1635853" cy="532236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0" name="Google Shape;326;p20">
              <a:extLst>
                <a:ext uri="{FF2B5EF4-FFF2-40B4-BE49-F238E27FC236}">
                  <a16:creationId xmlns:a16="http://schemas.microsoft.com/office/drawing/2014/main" id="{FE9AA524-C864-6613-F420-948EFE587B5D}"/>
                </a:ext>
              </a:extLst>
            </p:cNvPr>
            <p:cNvSpPr txBox="1"/>
            <p:nvPr/>
          </p:nvSpPr>
          <p:spPr>
            <a:xfrm>
              <a:off x="1189108" y="5694182"/>
              <a:ext cx="1534366" cy="7845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>
                <a:defRPr lang="en-US"/>
              </a:defPPr>
              <a:lvl1pPr algn="just">
                <a:defRPr sz="1200">
                  <a:latin typeface="Roboto"/>
                  <a:ea typeface="Roboto"/>
                  <a:cs typeface="Roboto"/>
                </a:defRPr>
              </a:lvl1pPr>
            </a:lstStyle>
            <a:p>
              <a:pPr algn="ctr"/>
              <a:r>
                <a:rPr lang="es-ES" sz="1400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Reducción de averías</a:t>
              </a:r>
              <a:endParaRPr lang="en" dirty="0">
                <a:solidFill>
                  <a:schemeClr val="bg1"/>
                </a:solidFill>
                <a:latin typeface="+mj-lt"/>
                <a:sym typeface="Roboto"/>
              </a:endParaRP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10212DEA-46B7-3323-6250-E6F1F237037E}"/>
              </a:ext>
            </a:extLst>
          </p:cNvPr>
          <p:cNvGrpSpPr/>
          <p:nvPr/>
        </p:nvGrpSpPr>
        <p:grpSpPr>
          <a:xfrm>
            <a:off x="6576435" y="5884719"/>
            <a:ext cx="1635853" cy="784527"/>
            <a:chOff x="1138365" y="5694182"/>
            <a:chExt cx="1635853" cy="784527"/>
          </a:xfrm>
        </p:grpSpPr>
        <p:sp>
          <p:nvSpPr>
            <p:cNvPr id="27" name="Google Shape;1467;p43">
              <a:extLst>
                <a:ext uri="{FF2B5EF4-FFF2-40B4-BE49-F238E27FC236}">
                  <a16:creationId xmlns:a16="http://schemas.microsoft.com/office/drawing/2014/main" id="{B00D5538-BCD5-1747-71E9-A5B894B407DC}"/>
                </a:ext>
              </a:extLst>
            </p:cNvPr>
            <p:cNvSpPr/>
            <p:nvPr/>
          </p:nvSpPr>
          <p:spPr>
            <a:xfrm>
              <a:off x="1138365" y="5820327"/>
              <a:ext cx="1635853" cy="532236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8" name="Google Shape;326;p20">
              <a:extLst>
                <a:ext uri="{FF2B5EF4-FFF2-40B4-BE49-F238E27FC236}">
                  <a16:creationId xmlns:a16="http://schemas.microsoft.com/office/drawing/2014/main" id="{DDA97C2A-6BF9-DF9E-0F27-CEBB3A39EE3C}"/>
                </a:ext>
              </a:extLst>
            </p:cNvPr>
            <p:cNvSpPr txBox="1"/>
            <p:nvPr/>
          </p:nvSpPr>
          <p:spPr>
            <a:xfrm>
              <a:off x="1189108" y="5694182"/>
              <a:ext cx="1534366" cy="7845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>
                <a:defRPr lang="en-US"/>
              </a:defPPr>
              <a:lvl1pPr algn="just">
                <a:defRPr sz="1200">
                  <a:latin typeface="Roboto"/>
                  <a:ea typeface="Roboto"/>
                  <a:cs typeface="Roboto"/>
                </a:defRPr>
              </a:lvl1pPr>
            </a:lstStyle>
            <a:p>
              <a:pPr algn="ctr"/>
              <a:r>
                <a:rPr lang="es-ES" sz="1400" dirty="0">
                  <a:solidFill>
                    <a:schemeClr val="bg1"/>
                  </a:solidFill>
                  <a:latin typeface="+mj-lt"/>
                  <a:sym typeface="Fira Sans Extra Condensed Medium"/>
                </a:rPr>
                <a:t>Redes más operables</a:t>
              </a:r>
              <a:endParaRPr lang="en" dirty="0">
                <a:solidFill>
                  <a:schemeClr val="bg1"/>
                </a:solidFill>
                <a:latin typeface="+mj-lt"/>
                <a:sym typeface="Roboto"/>
              </a:endParaRPr>
            </a:p>
          </p:txBody>
        </p:sp>
      </p:grpSp>
      <p:sp>
        <p:nvSpPr>
          <p:cNvPr id="46" name="Google Shape;973;p33">
            <a:extLst>
              <a:ext uri="{FF2B5EF4-FFF2-40B4-BE49-F238E27FC236}">
                <a16:creationId xmlns:a16="http://schemas.microsoft.com/office/drawing/2014/main" id="{F199687A-7331-75AE-63AA-F7FE5C22A98E}"/>
              </a:ext>
            </a:extLst>
          </p:cNvPr>
          <p:cNvSpPr/>
          <p:nvPr/>
        </p:nvSpPr>
        <p:spPr>
          <a:xfrm>
            <a:off x="8411018" y="5958296"/>
            <a:ext cx="396320" cy="272056"/>
          </a:xfrm>
          <a:prstGeom prst="rightArrow">
            <a:avLst>
              <a:gd name="adj1" fmla="val 35708"/>
              <a:gd name="adj2" fmla="val 46400"/>
            </a:avLst>
          </a:prstGeom>
          <a:solidFill>
            <a:srgbClr val="53729B"/>
          </a:solidFill>
          <a:ln w="12700" cap="flat" cmpd="sng">
            <a:solidFill>
              <a:srgbClr val="53729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7" name="Google Shape;347;p20">
            <a:extLst>
              <a:ext uri="{FF2B5EF4-FFF2-40B4-BE49-F238E27FC236}">
                <a16:creationId xmlns:a16="http://schemas.microsoft.com/office/drawing/2014/main" id="{94B0D503-7BCD-7E0A-2B5E-7EB3D0C3AE96}"/>
              </a:ext>
            </a:extLst>
          </p:cNvPr>
          <p:cNvGrpSpPr/>
          <p:nvPr/>
        </p:nvGrpSpPr>
        <p:grpSpPr>
          <a:xfrm>
            <a:off x="3276270" y="1814694"/>
            <a:ext cx="489667" cy="477541"/>
            <a:chOff x="1329585" y="1989925"/>
            <a:chExt cx="341472" cy="335074"/>
          </a:xfrm>
        </p:grpSpPr>
        <p:sp>
          <p:nvSpPr>
            <p:cNvPr id="48" name="Google Shape;348;p20">
              <a:extLst>
                <a:ext uri="{FF2B5EF4-FFF2-40B4-BE49-F238E27FC236}">
                  <a16:creationId xmlns:a16="http://schemas.microsoft.com/office/drawing/2014/main" id="{FFE6636B-4E33-0E4B-DC24-347C41B86979}"/>
                </a:ext>
              </a:extLst>
            </p:cNvPr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349;p20">
              <a:extLst>
                <a:ext uri="{FF2B5EF4-FFF2-40B4-BE49-F238E27FC236}">
                  <a16:creationId xmlns:a16="http://schemas.microsoft.com/office/drawing/2014/main" id="{12FDD5EB-BA72-D049-0CDA-45840F453130}"/>
                </a:ext>
              </a:extLst>
            </p:cNvPr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350;p20">
              <a:extLst>
                <a:ext uri="{FF2B5EF4-FFF2-40B4-BE49-F238E27FC236}">
                  <a16:creationId xmlns:a16="http://schemas.microsoft.com/office/drawing/2014/main" id="{90130539-9609-9A79-E551-A86E14A773F7}"/>
                </a:ext>
              </a:extLst>
            </p:cNvPr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5" name="Grupo 54">
            <a:extLst>
              <a:ext uri="{FF2B5EF4-FFF2-40B4-BE49-F238E27FC236}">
                <a16:creationId xmlns:a16="http://schemas.microsoft.com/office/drawing/2014/main" id="{53F5F26D-1D40-F018-82D6-08F91C88909F}"/>
              </a:ext>
            </a:extLst>
          </p:cNvPr>
          <p:cNvGrpSpPr/>
          <p:nvPr/>
        </p:nvGrpSpPr>
        <p:grpSpPr>
          <a:xfrm>
            <a:off x="254632" y="6123474"/>
            <a:ext cx="300103" cy="300103"/>
            <a:chOff x="199788" y="5596431"/>
            <a:chExt cx="224152" cy="224152"/>
          </a:xfrm>
        </p:grpSpPr>
        <p:sp>
          <p:nvSpPr>
            <p:cNvPr id="54" name="Rectángulo 53">
              <a:extLst>
                <a:ext uri="{FF2B5EF4-FFF2-40B4-BE49-F238E27FC236}">
                  <a16:creationId xmlns:a16="http://schemas.microsoft.com/office/drawing/2014/main" id="{80AD7C0C-8AD8-60A2-0BF0-7227DF73C932}"/>
                </a:ext>
              </a:extLst>
            </p:cNvPr>
            <p:cNvSpPr/>
            <p:nvPr/>
          </p:nvSpPr>
          <p:spPr>
            <a:xfrm>
              <a:off x="228600" y="5651428"/>
              <a:ext cx="166688" cy="127864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3" name="Google Shape;1451;p42">
              <a:extLst>
                <a:ext uri="{FF2B5EF4-FFF2-40B4-BE49-F238E27FC236}">
                  <a16:creationId xmlns:a16="http://schemas.microsoft.com/office/drawing/2014/main" id="{5D204B49-1DE3-EF7A-5DB6-CB3FEC6E81B1}"/>
                </a:ext>
              </a:extLst>
            </p:cNvPr>
            <p:cNvSpPr/>
            <p:nvPr/>
          </p:nvSpPr>
          <p:spPr>
            <a:xfrm>
              <a:off x="199788" y="5596431"/>
              <a:ext cx="224152" cy="224152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2728" y="5990"/>
                  </a:moveTo>
                  <a:cubicBezTo>
                    <a:pt x="13161" y="5990"/>
                    <a:pt x="13595" y="6156"/>
                    <a:pt x="13925" y="6487"/>
                  </a:cubicBezTo>
                  <a:cubicBezTo>
                    <a:pt x="14587" y="7149"/>
                    <a:pt x="14587" y="8221"/>
                    <a:pt x="13928" y="8884"/>
                  </a:cubicBezTo>
                  <a:lnTo>
                    <a:pt x="10028" y="12780"/>
                  </a:lnTo>
                  <a:cubicBezTo>
                    <a:pt x="9709" y="13100"/>
                    <a:pt x="9278" y="13280"/>
                    <a:pt x="8830" y="13280"/>
                  </a:cubicBezTo>
                  <a:lnTo>
                    <a:pt x="8815" y="13280"/>
                  </a:lnTo>
                  <a:cubicBezTo>
                    <a:pt x="8811" y="13280"/>
                    <a:pt x="8807" y="13280"/>
                    <a:pt x="8804" y="13280"/>
                  </a:cubicBezTo>
                  <a:cubicBezTo>
                    <a:pt x="8362" y="13280"/>
                    <a:pt x="7936" y="13103"/>
                    <a:pt x="7622" y="12789"/>
                  </a:cubicBezTo>
                  <a:lnTo>
                    <a:pt x="5346" y="10528"/>
                  </a:lnTo>
                  <a:cubicBezTo>
                    <a:pt x="4632" y="9877"/>
                    <a:pt x="4605" y="8760"/>
                    <a:pt x="5288" y="8077"/>
                  </a:cubicBezTo>
                  <a:cubicBezTo>
                    <a:pt x="5620" y="7745"/>
                    <a:pt x="6053" y="7581"/>
                    <a:pt x="6485" y="7581"/>
                  </a:cubicBezTo>
                  <a:cubicBezTo>
                    <a:pt x="6944" y="7581"/>
                    <a:pt x="7402" y="7766"/>
                    <a:pt x="7737" y="8134"/>
                  </a:cubicBezTo>
                  <a:lnTo>
                    <a:pt x="8812" y="9206"/>
                  </a:lnTo>
                  <a:lnTo>
                    <a:pt x="11531" y="6487"/>
                  </a:lnTo>
                  <a:cubicBezTo>
                    <a:pt x="11861" y="6156"/>
                    <a:pt x="12294" y="5990"/>
                    <a:pt x="12728" y="5990"/>
                  </a:cubicBezTo>
                  <a:close/>
                  <a:moveTo>
                    <a:pt x="9637" y="1"/>
                  </a:moveTo>
                  <a:cubicBezTo>
                    <a:pt x="7095" y="1"/>
                    <a:pt x="4686" y="1012"/>
                    <a:pt x="2849" y="2849"/>
                  </a:cubicBezTo>
                  <a:cubicBezTo>
                    <a:pt x="1013" y="4686"/>
                    <a:pt x="1" y="7098"/>
                    <a:pt x="1" y="9637"/>
                  </a:cubicBezTo>
                  <a:cubicBezTo>
                    <a:pt x="1" y="12175"/>
                    <a:pt x="1013" y="14587"/>
                    <a:pt x="2849" y="16424"/>
                  </a:cubicBezTo>
                  <a:cubicBezTo>
                    <a:pt x="4686" y="18261"/>
                    <a:pt x="7095" y="19273"/>
                    <a:pt x="9637" y="19273"/>
                  </a:cubicBezTo>
                  <a:cubicBezTo>
                    <a:pt x="12175" y="19273"/>
                    <a:pt x="14584" y="18261"/>
                    <a:pt x="16421" y="16424"/>
                  </a:cubicBezTo>
                  <a:cubicBezTo>
                    <a:pt x="18258" y="14587"/>
                    <a:pt x="19273" y="12175"/>
                    <a:pt x="19273" y="9637"/>
                  </a:cubicBezTo>
                  <a:cubicBezTo>
                    <a:pt x="19273" y="7098"/>
                    <a:pt x="18258" y="4686"/>
                    <a:pt x="16421" y="2849"/>
                  </a:cubicBezTo>
                  <a:cubicBezTo>
                    <a:pt x="14584" y="1012"/>
                    <a:pt x="12175" y="1"/>
                    <a:pt x="9637" y="1"/>
                  </a:cubicBezTo>
                  <a:close/>
                </a:path>
              </a:pathLst>
            </a:custGeom>
            <a:solidFill>
              <a:srgbClr val="00DD2B"/>
            </a:solidFill>
            <a:ln>
              <a:solidFill>
                <a:srgbClr val="00DD2B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56" name="Grupo 55">
            <a:extLst>
              <a:ext uri="{FF2B5EF4-FFF2-40B4-BE49-F238E27FC236}">
                <a16:creationId xmlns:a16="http://schemas.microsoft.com/office/drawing/2014/main" id="{C4EB042C-853D-141F-20AD-6D508ADE2C69}"/>
              </a:ext>
            </a:extLst>
          </p:cNvPr>
          <p:cNvGrpSpPr/>
          <p:nvPr/>
        </p:nvGrpSpPr>
        <p:grpSpPr>
          <a:xfrm>
            <a:off x="2316088" y="6123474"/>
            <a:ext cx="300103" cy="300103"/>
            <a:chOff x="199788" y="5596431"/>
            <a:chExt cx="224152" cy="224152"/>
          </a:xfrm>
        </p:grpSpPr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id="{CB51D2AF-11FD-65D5-3307-E8D996F0F02E}"/>
                </a:ext>
              </a:extLst>
            </p:cNvPr>
            <p:cNvSpPr/>
            <p:nvPr/>
          </p:nvSpPr>
          <p:spPr>
            <a:xfrm>
              <a:off x="228600" y="5651428"/>
              <a:ext cx="166688" cy="127864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8" name="Google Shape;1451;p42">
              <a:extLst>
                <a:ext uri="{FF2B5EF4-FFF2-40B4-BE49-F238E27FC236}">
                  <a16:creationId xmlns:a16="http://schemas.microsoft.com/office/drawing/2014/main" id="{250E5122-DD5B-96F9-7FBE-FDB60D3E1C31}"/>
                </a:ext>
              </a:extLst>
            </p:cNvPr>
            <p:cNvSpPr/>
            <p:nvPr/>
          </p:nvSpPr>
          <p:spPr>
            <a:xfrm>
              <a:off x="199788" y="5596431"/>
              <a:ext cx="224152" cy="224152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2728" y="5990"/>
                  </a:moveTo>
                  <a:cubicBezTo>
                    <a:pt x="13161" y="5990"/>
                    <a:pt x="13595" y="6156"/>
                    <a:pt x="13925" y="6487"/>
                  </a:cubicBezTo>
                  <a:cubicBezTo>
                    <a:pt x="14587" y="7149"/>
                    <a:pt x="14587" y="8221"/>
                    <a:pt x="13928" y="8884"/>
                  </a:cubicBezTo>
                  <a:lnTo>
                    <a:pt x="10028" y="12780"/>
                  </a:lnTo>
                  <a:cubicBezTo>
                    <a:pt x="9709" y="13100"/>
                    <a:pt x="9278" y="13280"/>
                    <a:pt x="8830" y="13280"/>
                  </a:cubicBezTo>
                  <a:lnTo>
                    <a:pt x="8815" y="13280"/>
                  </a:lnTo>
                  <a:cubicBezTo>
                    <a:pt x="8811" y="13280"/>
                    <a:pt x="8807" y="13280"/>
                    <a:pt x="8804" y="13280"/>
                  </a:cubicBezTo>
                  <a:cubicBezTo>
                    <a:pt x="8362" y="13280"/>
                    <a:pt x="7936" y="13103"/>
                    <a:pt x="7622" y="12789"/>
                  </a:cubicBezTo>
                  <a:lnTo>
                    <a:pt x="5346" y="10528"/>
                  </a:lnTo>
                  <a:cubicBezTo>
                    <a:pt x="4632" y="9877"/>
                    <a:pt x="4605" y="8760"/>
                    <a:pt x="5288" y="8077"/>
                  </a:cubicBezTo>
                  <a:cubicBezTo>
                    <a:pt x="5620" y="7745"/>
                    <a:pt x="6053" y="7581"/>
                    <a:pt x="6485" y="7581"/>
                  </a:cubicBezTo>
                  <a:cubicBezTo>
                    <a:pt x="6944" y="7581"/>
                    <a:pt x="7402" y="7766"/>
                    <a:pt x="7737" y="8134"/>
                  </a:cubicBezTo>
                  <a:lnTo>
                    <a:pt x="8812" y="9206"/>
                  </a:lnTo>
                  <a:lnTo>
                    <a:pt x="11531" y="6487"/>
                  </a:lnTo>
                  <a:cubicBezTo>
                    <a:pt x="11861" y="6156"/>
                    <a:pt x="12294" y="5990"/>
                    <a:pt x="12728" y="5990"/>
                  </a:cubicBezTo>
                  <a:close/>
                  <a:moveTo>
                    <a:pt x="9637" y="1"/>
                  </a:moveTo>
                  <a:cubicBezTo>
                    <a:pt x="7095" y="1"/>
                    <a:pt x="4686" y="1012"/>
                    <a:pt x="2849" y="2849"/>
                  </a:cubicBezTo>
                  <a:cubicBezTo>
                    <a:pt x="1013" y="4686"/>
                    <a:pt x="1" y="7098"/>
                    <a:pt x="1" y="9637"/>
                  </a:cubicBezTo>
                  <a:cubicBezTo>
                    <a:pt x="1" y="12175"/>
                    <a:pt x="1013" y="14587"/>
                    <a:pt x="2849" y="16424"/>
                  </a:cubicBezTo>
                  <a:cubicBezTo>
                    <a:pt x="4686" y="18261"/>
                    <a:pt x="7095" y="19273"/>
                    <a:pt x="9637" y="19273"/>
                  </a:cubicBezTo>
                  <a:cubicBezTo>
                    <a:pt x="12175" y="19273"/>
                    <a:pt x="14584" y="18261"/>
                    <a:pt x="16421" y="16424"/>
                  </a:cubicBezTo>
                  <a:cubicBezTo>
                    <a:pt x="18258" y="14587"/>
                    <a:pt x="19273" y="12175"/>
                    <a:pt x="19273" y="9637"/>
                  </a:cubicBezTo>
                  <a:cubicBezTo>
                    <a:pt x="19273" y="7098"/>
                    <a:pt x="18258" y="4686"/>
                    <a:pt x="16421" y="2849"/>
                  </a:cubicBezTo>
                  <a:cubicBezTo>
                    <a:pt x="14584" y="1012"/>
                    <a:pt x="12175" y="1"/>
                    <a:pt x="9637" y="1"/>
                  </a:cubicBezTo>
                  <a:close/>
                </a:path>
              </a:pathLst>
            </a:custGeom>
            <a:solidFill>
              <a:srgbClr val="00DD2B"/>
            </a:solidFill>
            <a:ln>
              <a:solidFill>
                <a:srgbClr val="00DD2B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59" name="Grupo 58">
            <a:extLst>
              <a:ext uri="{FF2B5EF4-FFF2-40B4-BE49-F238E27FC236}">
                <a16:creationId xmlns:a16="http://schemas.microsoft.com/office/drawing/2014/main" id="{7A66C347-B516-075F-0C94-C312FAA76CF0}"/>
              </a:ext>
            </a:extLst>
          </p:cNvPr>
          <p:cNvGrpSpPr/>
          <p:nvPr/>
        </p:nvGrpSpPr>
        <p:grpSpPr>
          <a:xfrm>
            <a:off x="4377544" y="6123474"/>
            <a:ext cx="300103" cy="300103"/>
            <a:chOff x="199788" y="5596431"/>
            <a:chExt cx="224152" cy="224152"/>
          </a:xfrm>
        </p:grpSpPr>
        <p:sp>
          <p:nvSpPr>
            <p:cNvPr id="60" name="Rectángulo 59">
              <a:extLst>
                <a:ext uri="{FF2B5EF4-FFF2-40B4-BE49-F238E27FC236}">
                  <a16:creationId xmlns:a16="http://schemas.microsoft.com/office/drawing/2014/main" id="{7BF7EBA0-792C-54E5-CD80-00C1792007AC}"/>
                </a:ext>
              </a:extLst>
            </p:cNvPr>
            <p:cNvSpPr/>
            <p:nvPr/>
          </p:nvSpPr>
          <p:spPr>
            <a:xfrm>
              <a:off x="228600" y="5651428"/>
              <a:ext cx="166688" cy="127864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1" name="Google Shape;1451;p42">
              <a:extLst>
                <a:ext uri="{FF2B5EF4-FFF2-40B4-BE49-F238E27FC236}">
                  <a16:creationId xmlns:a16="http://schemas.microsoft.com/office/drawing/2014/main" id="{BF6B2D44-4627-4110-13C5-B15DE9DFBBD4}"/>
                </a:ext>
              </a:extLst>
            </p:cNvPr>
            <p:cNvSpPr/>
            <p:nvPr/>
          </p:nvSpPr>
          <p:spPr>
            <a:xfrm>
              <a:off x="199788" y="5596431"/>
              <a:ext cx="224152" cy="224152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2728" y="5990"/>
                  </a:moveTo>
                  <a:cubicBezTo>
                    <a:pt x="13161" y="5990"/>
                    <a:pt x="13595" y="6156"/>
                    <a:pt x="13925" y="6487"/>
                  </a:cubicBezTo>
                  <a:cubicBezTo>
                    <a:pt x="14587" y="7149"/>
                    <a:pt x="14587" y="8221"/>
                    <a:pt x="13928" y="8884"/>
                  </a:cubicBezTo>
                  <a:lnTo>
                    <a:pt x="10028" y="12780"/>
                  </a:lnTo>
                  <a:cubicBezTo>
                    <a:pt x="9709" y="13100"/>
                    <a:pt x="9278" y="13280"/>
                    <a:pt x="8830" y="13280"/>
                  </a:cubicBezTo>
                  <a:lnTo>
                    <a:pt x="8815" y="13280"/>
                  </a:lnTo>
                  <a:cubicBezTo>
                    <a:pt x="8811" y="13280"/>
                    <a:pt x="8807" y="13280"/>
                    <a:pt x="8804" y="13280"/>
                  </a:cubicBezTo>
                  <a:cubicBezTo>
                    <a:pt x="8362" y="13280"/>
                    <a:pt x="7936" y="13103"/>
                    <a:pt x="7622" y="12789"/>
                  </a:cubicBezTo>
                  <a:lnTo>
                    <a:pt x="5346" y="10528"/>
                  </a:lnTo>
                  <a:cubicBezTo>
                    <a:pt x="4632" y="9877"/>
                    <a:pt x="4605" y="8760"/>
                    <a:pt x="5288" y="8077"/>
                  </a:cubicBezTo>
                  <a:cubicBezTo>
                    <a:pt x="5620" y="7745"/>
                    <a:pt x="6053" y="7581"/>
                    <a:pt x="6485" y="7581"/>
                  </a:cubicBezTo>
                  <a:cubicBezTo>
                    <a:pt x="6944" y="7581"/>
                    <a:pt x="7402" y="7766"/>
                    <a:pt x="7737" y="8134"/>
                  </a:cubicBezTo>
                  <a:lnTo>
                    <a:pt x="8812" y="9206"/>
                  </a:lnTo>
                  <a:lnTo>
                    <a:pt x="11531" y="6487"/>
                  </a:lnTo>
                  <a:cubicBezTo>
                    <a:pt x="11861" y="6156"/>
                    <a:pt x="12294" y="5990"/>
                    <a:pt x="12728" y="5990"/>
                  </a:cubicBezTo>
                  <a:close/>
                  <a:moveTo>
                    <a:pt x="9637" y="1"/>
                  </a:moveTo>
                  <a:cubicBezTo>
                    <a:pt x="7095" y="1"/>
                    <a:pt x="4686" y="1012"/>
                    <a:pt x="2849" y="2849"/>
                  </a:cubicBezTo>
                  <a:cubicBezTo>
                    <a:pt x="1013" y="4686"/>
                    <a:pt x="1" y="7098"/>
                    <a:pt x="1" y="9637"/>
                  </a:cubicBezTo>
                  <a:cubicBezTo>
                    <a:pt x="1" y="12175"/>
                    <a:pt x="1013" y="14587"/>
                    <a:pt x="2849" y="16424"/>
                  </a:cubicBezTo>
                  <a:cubicBezTo>
                    <a:pt x="4686" y="18261"/>
                    <a:pt x="7095" y="19273"/>
                    <a:pt x="9637" y="19273"/>
                  </a:cubicBezTo>
                  <a:cubicBezTo>
                    <a:pt x="12175" y="19273"/>
                    <a:pt x="14584" y="18261"/>
                    <a:pt x="16421" y="16424"/>
                  </a:cubicBezTo>
                  <a:cubicBezTo>
                    <a:pt x="18258" y="14587"/>
                    <a:pt x="19273" y="12175"/>
                    <a:pt x="19273" y="9637"/>
                  </a:cubicBezTo>
                  <a:cubicBezTo>
                    <a:pt x="19273" y="7098"/>
                    <a:pt x="18258" y="4686"/>
                    <a:pt x="16421" y="2849"/>
                  </a:cubicBezTo>
                  <a:cubicBezTo>
                    <a:pt x="14584" y="1012"/>
                    <a:pt x="12175" y="1"/>
                    <a:pt x="9637" y="1"/>
                  </a:cubicBezTo>
                  <a:close/>
                </a:path>
              </a:pathLst>
            </a:custGeom>
            <a:solidFill>
              <a:srgbClr val="00DD2B"/>
            </a:solidFill>
            <a:ln>
              <a:solidFill>
                <a:srgbClr val="00DD2B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62" name="Grupo 61">
            <a:extLst>
              <a:ext uri="{FF2B5EF4-FFF2-40B4-BE49-F238E27FC236}">
                <a16:creationId xmlns:a16="http://schemas.microsoft.com/office/drawing/2014/main" id="{A9C9F8E9-F026-AC34-A4E5-724C3A2EB45C}"/>
              </a:ext>
            </a:extLst>
          </p:cNvPr>
          <p:cNvGrpSpPr/>
          <p:nvPr/>
        </p:nvGrpSpPr>
        <p:grpSpPr>
          <a:xfrm>
            <a:off x="6439001" y="6123474"/>
            <a:ext cx="300103" cy="300103"/>
            <a:chOff x="199788" y="5596431"/>
            <a:chExt cx="224152" cy="224152"/>
          </a:xfrm>
        </p:grpSpPr>
        <p:sp>
          <p:nvSpPr>
            <p:cNvPr id="63" name="Rectángulo 62">
              <a:extLst>
                <a:ext uri="{FF2B5EF4-FFF2-40B4-BE49-F238E27FC236}">
                  <a16:creationId xmlns:a16="http://schemas.microsoft.com/office/drawing/2014/main" id="{E7FCAC9B-9D43-07DA-85C5-32B35808FB1B}"/>
                </a:ext>
              </a:extLst>
            </p:cNvPr>
            <p:cNvSpPr/>
            <p:nvPr/>
          </p:nvSpPr>
          <p:spPr>
            <a:xfrm>
              <a:off x="228600" y="5651428"/>
              <a:ext cx="166688" cy="127864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4" name="Google Shape;1451;p42">
              <a:extLst>
                <a:ext uri="{FF2B5EF4-FFF2-40B4-BE49-F238E27FC236}">
                  <a16:creationId xmlns:a16="http://schemas.microsoft.com/office/drawing/2014/main" id="{0963ACAC-2555-F1D6-871B-D4E47B0BE8BB}"/>
                </a:ext>
              </a:extLst>
            </p:cNvPr>
            <p:cNvSpPr/>
            <p:nvPr/>
          </p:nvSpPr>
          <p:spPr>
            <a:xfrm>
              <a:off x="199788" y="5596431"/>
              <a:ext cx="224152" cy="224152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2728" y="5990"/>
                  </a:moveTo>
                  <a:cubicBezTo>
                    <a:pt x="13161" y="5990"/>
                    <a:pt x="13595" y="6156"/>
                    <a:pt x="13925" y="6487"/>
                  </a:cubicBezTo>
                  <a:cubicBezTo>
                    <a:pt x="14587" y="7149"/>
                    <a:pt x="14587" y="8221"/>
                    <a:pt x="13928" y="8884"/>
                  </a:cubicBezTo>
                  <a:lnTo>
                    <a:pt x="10028" y="12780"/>
                  </a:lnTo>
                  <a:cubicBezTo>
                    <a:pt x="9709" y="13100"/>
                    <a:pt x="9278" y="13280"/>
                    <a:pt x="8830" y="13280"/>
                  </a:cubicBezTo>
                  <a:lnTo>
                    <a:pt x="8815" y="13280"/>
                  </a:lnTo>
                  <a:cubicBezTo>
                    <a:pt x="8811" y="13280"/>
                    <a:pt x="8807" y="13280"/>
                    <a:pt x="8804" y="13280"/>
                  </a:cubicBezTo>
                  <a:cubicBezTo>
                    <a:pt x="8362" y="13280"/>
                    <a:pt x="7936" y="13103"/>
                    <a:pt x="7622" y="12789"/>
                  </a:cubicBezTo>
                  <a:lnTo>
                    <a:pt x="5346" y="10528"/>
                  </a:lnTo>
                  <a:cubicBezTo>
                    <a:pt x="4632" y="9877"/>
                    <a:pt x="4605" y="8760"/>
                    <a:pt x="5288" y="8077"/>
                  </a:cubicBezTo>
                  <a:cubicBezTo>
                    <a:pt x="5620" y="7745"/>
                    <a:pt x="6053" y="7581"/>
                    <a:pt x="6485" y="7581"/>
                  </a:cubicBezTo>
                  <a:cubicBezTo>
                    <a:pt x="6944" y="7581"/>
                    <a:pt x="7402" y="7766"/>
                    <a:pt x="7737" y="8134"/>
                  </a:cubicBezTo>
                  <a:lnTo>
                    <a:pt x="8812" y="9206"/>
                  </a:lnTo>
                  <a:lnTo>
                    <a:pt x="11531" y="6487"/>
                  </a:lnTo>
                  <a:cubicBezTo>
                    <a:pt x="11861" y="6156"/>
                    <a:pt x="12294" y="5990"/>
                    <a:pt x="12728" y="5990"/>
                  </a:cubicBezTo>
                  <a:close/>
                  <a:moveTo>
                    <a:pt x="9637" y="1"/>
                  </a:moveTo>
                  <a:cubicBezTo>
                    <a:pt x="7095" y="1"/>
                    <a:pt x="4686" y="1012"/>
                    <a:pt x="2849" y="2849"/>
                  </a:cubicBezTo>
                  <a:cubicBezTo>
                    <a:pt x="1013" y="4686"/>
                    <a:pt x="1" y="7098"/>
                    <a:pt x="1" y="9637"/>
                  </a:cubicBezTo>
                  <a:cubicBezTo>
                    <a:pt x="1" y="12175"/>
                    <a:pt x="1013" y="14587"/>
                    <a:pt x="2849" y="16424"/>
                  </a:cubicBezTo>
                  <a:cubicBezTo>
                    <a:pt x="4686" y="18261"/>
                    <a:pt x="7095" y="19273"/>
                    <a:pt x="9637" y="19273"/>
                  </a:cubicBezTo>
                  <a:cubicBezTo>
                    <a:pt x="12175" y="19273"/>
                    <a:pt x="14584" y="18261"/>
                    <a:pt x="16421" y="16424"/>
                  </a:cubicBezTo>
                  <a:cubicBezTo>
                    <a:pt x="18258" y="14587"/>
                    <a:pt x="19273" y="12175"/>
                    <a:pt x="19273" y="9637"/>
                  </a:cubicBezTo>
                  <a:cubicBezTo>
                    <a:pt x="19273" y="7098"/>
                    <a:pt x="18258" y="4686"/>
                    <a:pt x="16421" y="2849"/>
                  </a:cubicBezTo>
                  <a:cubicBezTo>
                    <a:pt x="14584" y="1012"/>
                    <a:pt x="12175" y="1"/>
                    <a:pt x="9637" y="1"/>
                  </a:cubicBezTo>
                  <a:close/>
                </a:path>
              </a:pathLst>
            </a:custGeom>
            <a:solidFill>
              <a:srgbClr val="00DD2B"/>
            </a:solidFill>
            <a:ln>
              <a:solidFill>
                <a:srgbClr val="00DD2B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69" name="Grupo 68">
            <a:extLst>
              <a:ext uri="{FF2B5EF4-FFF2-40B4-BE49-F238E27FC236}">
                <a16:creationId xmlns:a16="http://schemas.microsoft.com/office/drawing/2014/main" id="{F356F61B-132E-5D63-494E-638583B25458}"/>
              </a:ext>
            </a:extLst>
          </p:cNvPr>
          <p:cNvGrpSpPr/>
          <p:nvPr/>
        </p:nvGrpSpPr>
        <p:grpSpPr>
          <a:xfrm>
            <a:off x="7336402" y="1771670"/>
            <a:ext cx="4455822" cy="3236260"/>
            <a:chOff x="7336402" y="1771670"/>
            <a:chExt cx="4455822" cy="3236260"/>
          </a:xfrm>
        </p:grpSpPr>
        <p:sp>
          <p:nvSpPr>
            <p:cNvPr id="273" name="Rectángulo 272">
              <a:extLst>
                <a:ext uri="{FF2B5EF4-FFF2-40B4-BE49-F238E27FC236}">
                  <a16:creationId xmlns:a16="http://schemas.microsoft.com/office/drawing/2014/main" id="{ADD421F8-DFA5-BB32-AB55-F39E821B9070}"/>
                </a:ext>
              </a:extLst>
            </p:cNvPr>
            <p:cNvSpPr/>
            <p:nvPr/>
          </p:nvSpPr>
          <p:spPr>
            <a:xfrm>
              <a:off x="7778983" y="1771670"/>
              <a:ext cx="3457098" cy="89125"/>
            </a:xfrm>
            <a:prstGeom prst="rect">
              <a:avLst/>
            </a:prstGeom>
            <a:solidFill>
              <a:srgbClr val="156082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233" name="Grupo 232">
              <a:extLst>
                <a:ext uri="{FF2B5EF4-FFF2-40B4-BE49-F238E27FC236}">
                  <a16:creationId xmlns:a16="http://schemas.microsoft.com/office/drawing/2014/main" id="{39B7E5AA-3DE0-3B50-B139-4BA45980873D}"/>
                </a:ext>
              </a:extLst>
            </p:cNvPr>
            <p:cNvGrpSpPr/>
            <p:nvPr/>
          </p:nvGrpSpPr>
          <p:grpSpPr>
            <a:xfrm>
              <a:off x="7424189" y="2352370"/>
              <a:ext cx="2087723" cy="454078"/>
              <a:chOff x="6727211" y="1876190"/>
              <a:chExt cx="2330704" cy="471900"/>
            </a:xfrm>
          </p:grpSpPr>
          <p:sp>
            <p:nvSpPr>
              <p:cNvPr id="226" name="Google Shape;214;p18">
                <a:extLst>
                  <a:ext uri="{FF2B5EF4-FFF2-40B4-BE49-F238E27FC236}">
                    <a16:creationId xmlns:a16="http://schemas.microsoft.com/office/drawing/2014/main" id="{08EB5733-13D1-BA67-4165-35BA3988AA7B}"/>
                  </a:ext>
                </a:extLst>
              </p:cNvPr>
              <p:cNvSpPr/>
              <p:nvPr/>
            </p:nvSpPr>
            <p:spPr>
              <a:xfrm>
                <a:off x="6727211" y="1876190"/>
                <a:ext cx="2330704" cy="471900"/>
              </a:xfrm>
              <a:prstGeom prst="roundRect">
                <a:avLst>
                  <a:gd name="adj" fmla="val 50000"/>
                </a:avLst>
              </a:prstGeom>
              <a:solidFill>
                <a:srgbClr val="212E3E"/>
              </a:solidFill>
              <a:ln>
                <a:noFill/>
              </a:ln>
            </p:spPr>
            <p:txBody>
              <a:bodyPr spcFirstLastPara="1" wrap="square" lIns="64007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Google Shape;216;p18">
                <a:extLst>
                  <a:ext uri="{FF2B5EF4-FFF2-40B4-BE49-F238E27FC236}">
                    <a16:creationId xmlns:a16="http://schemas.microsoft.com/office/drawing/2014/main" id="{315A7D3C-1B82-2715-D766-176F48628A7C}"/>
                  </a:ext>
                </a:extLst>
              </p:cNvPr>
              <p:cNvSpPr/>
              <p:nvPr/>
            </p:nvSpPr>
            <p:spPr>
              <a:xfrm>
                <a:off x="6790515" y="1921942"/>
                <a:ext cx="380400" cy="380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" name="CuadroTexto 224">
                <a:extLst>
                  <a:ext uri="{FF2B5EF4-FFF2-40B4-BE49-F238E27FC236}">
                    <a16:creationId xmlns:a16="http://schemas.microsoft.com/office/drawing/2014/main" id="{A84F54BF-5B3F-35C6-DEC3-86B21B1FBDFE}"/>
                  </a:ext>
                </a:extLst>
              </p:cNvPr>
              <p:cNvSpPr txBox="1"/>
              <p:nvPr/>
            </p:nvSpPr>
            <p:spPr>
              <a:xfrm>
                <a:off x="6791247" y="1936837"/>
                <a:ext cx="362930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s-ES" b="1" dirty="0">
                    <a:solidFill>
                      <a:srgbClr val="212E3E"/>
                    </a:solidFill>
                  </a:rPr>
                  <a:t>1</a:t>
                </a:r>
                <a:endParaRPr lang="es-ES" sz="1800" b="1" dirty="0">
                  <a:solidFill>
                    <a:srgbClr val="212E3E"/>
                  </a:solidFill>
                </a:endParaRPr>
              </a:p>
            </p:txBody>
          </p:sp>
        </p:grpSp>
        <p:sp>
          <p:nvSpPr>
            <p:cNvPr id="234" name="Google Shape;303;p20">
              <a:extLst>
                <a:ext uri="{FF2B5EF4-FFF2-40B4-BE49-F238E27FC236}">
                  <a16:creationId xmlns:a16="http://schemas.microsoft.com/office/drawing/2014/main" id="{FB233E0B-4B93-89EF-886C-02304B8E1ECF}"/>
                </a:ext>
              </a:extLst>
            </p:cNvPr>
            <p:cNvSpPr txBox="1"/>
            <p:nvPr/>
          </p:nvSpPr>
          <p:spPr>
            <a:xfrm>
              <a:off x="7805466" y="2300851"/>
              <a:ext cx="975895" cy="3751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BEGASA</a:t>
              </a:r>
            </a:p>
          </p:txBody>
        </p:sp>
        <p:grpSp>
          <p:nvGrpSpPr>
            <p:cNvPr id="235" name="Grupo 234">
              <a:extLst>
                <a:ext uri="{FF2B5EF4-FFF2-40B4-BE49-F238E27FC236}">
                  <a16:creationId xmlns:a16="http://schemas.microsoft.com/office/drawing/2014/main" id="{6661F12E-8144-F3FD-00D1-51337DB6E4EC}"/>
                </a:ext>
              </a:extLst>
            </p:cNvPr>
            <p:cNvGrpSpPr/>
            <p:nvPr/>
          </p:nvGrpSpPr>
          <p:grpSpPr>
            <a:xfrm>
              <a:off x="7424189" y="4313286"/>
              <a:ext cx="2087723" cy="454078"/>
              <a:chOff x="6727211" y="1876190"/>
              <a:chExt cx="2330704" cy="471900"/>
            </a:xfrm>
          </p:grpSpPr>
          <p:sp>
            <p:nvSpPr>
              <p:cNvPr id="236" name="Google Shape;214;p18">
                <a:extLst>
                  <a:ext uri="{FF2B5EF4-FFF2-40B4-BE49-F238E27FC236}">
                    <a16:creationId xmlns:a16="http://schemas.microsoft.com/office/drawing/2014/main" id="{01DB749E-655B-41E4-B92A-500B9B29C561}"/>
                  </a:ext>
                </a:extLst>
              </p:cNvPr>
              <p:cNvSpPr/>
              <p:nvPr/>
            </p:nvSpPr>
            <p:spPr>
              <a:xfrm>
                <a:off x="6727211" y="1876190"/>
                <a:ext cx="2330704" cy="471900"/>
              </a:xfrm>
              <a:prstGeom prst="roundRect">
                <a:avLst>
                  <a:gd name="adj" fmla="val 50000"/>
                </a:avLst>
              </a:prstGeom>
              <a:solidFill>
                <a:srgbClr val="7994B8"/>
              </a:solidFill>
              <a:ln>
                <a:noFill/>
              </a:ln>
            </p:spPr>
            <p:txBody>
              <a:bodyPr spcFirstLastPara="1" wrap="square" lIns="64007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7" name="Google Shape;216;p18">
                <a:extLst>
                  <a:ext uri="{FF2B5EF4-FFF2-40B4-BE49-F238E27FC236}">
                    <a16:creationId xmlns:a16="http://schemas.microsoft.com/office/drawing/2014/main" id="{7C0C854E-FC6D-61BF-9BA6-D6F8A069CD0B}"/>
                  </a:ext>
                </a:extLst>
              </p:cNvPr>
              <p:cNvSpPr/>
              <p:nvPr/>
            </p:nvSpPr>
            <p:spPr>
              <a:xfrm>
                <a:off x="6777225" y="1923855"/>
                <a:ext cx="380400" cy="380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238" name="CuadroTexto 237">
                <a:extLst>
                  <a:ext uri="{FF2B5EF4-FFF2-40B4-BE49-F238E27FC236}">
                    <a16:creationId xmlns:a16="http://schemas.microsoft.com/office/drawing/2014/main" id="{089A04EC-9AC7-00BA-39E2-E207AF9DCDEC}"/>
                  </a:ext>
                </a:extLst>
              </p:cNvPr>
              <p:cNvSpPr txBox="1"/>
              <p:nvPr/>
            </p:nvSpPr>
            <p:spPr>
              <a:xfrm>
                <a:off x="6788665" y="1916373"/>
                <a:ext cx="362930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s-ES" sz="1800" b="1" dirty="0">
                    <a:solidFill>
                      <a:srgbClr val="212E3E"/>
                    </a:solidFill>
                  </a:rPr>
                  <a:t>3</a:t>
                </a:r>
              </a:p>
            </p:txBody>
          </p:sp>
        </p:grpSp>
        <p:sp>
          <p:nvSpPr>
            <p:cNvPr id="239" name="Google Shape;303;p20">
              <a:extLst>
                <a:ext uri="{FF2B5EF4-FFF2-40B4-BE49-F238E27FC236}">
                  <a16:creationId xmlns:a16="http://schemas.microsoft.com/office/drawing/2014/main" id="{B99D3A61-DBA9-94A5-B27F-37E4D4686252}"/>
                </a:ext>
              </a:extLst>
            </p:cNvPr>
            <p:cNvSpPr txBox="1"/>
            <p:nvPr/>
          </p:nvSpPr>
          <p:spPr>
            <a:xfrm>
              <a:off x="7785159" y="4431230"/>
              <a:ext cx="975895" cy="3751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VIESGO</a:t>
              </a:r>
            </a:p>
          </p:txBody>
        </p:sp>
        <p:grpSp>
          <p:nvGrpSpPr>
            <p:cNvPr id="244" name="Grupo 243">
              <a:extLst>
                <a:ext uri="{FF2B5EF4-FFF2-40B4-BE49-F238E27FC236}">
                  <a16:creationId xmlns:a16="http://schemas.microsoft.com/office/drawing/2014/main" id="{B0B4F620-3375-7F3F-DB7A-BD987A25A43D}"/>
                </a:ext>
              </a:extLst>
            </p:cNvPr>
            <p:cNvGrpSpPr/>
            <p:nvPr/>
          </p:nvGrpSpPr>
          <p:grpSpPr>
            <a:xfrm>
              <a:off x="9704501" y="4313286"/>
              <a:ext cx="2087723" cy="454078"/>
              <a:chOff x="9530880" y="4022520"/>
              <a:chExt cx="2330704" cy="471900"/>
            </a:xfrm>
          </p:grpSpPr>
          <p:sp>
            <p:nvSpPr>
              <p:cNvPr id="241" name="Google Shape;214;p18">
                <a:extLst>
                  <a:ext uri="{FF2B5EF4-FFF2-40B4-BE49-F238E27FC236}">
                    <a16:creationId xmlns:a16="http://schemas.microsoft.com/office/drawing/2014/main" id="{D3F52EDD-0B13-E9E7-920F-48743E245D97}"/>
                  </a:ext>
                </a:extLst>
              </p:cNvPr>
              <p:cNvSpPr/>
              <p:nvPr/>
            </p:nvSpPr>
            <p:spPr>
              <a:xfrm>
                <a:off x="9530880" y="4022520"/>
                <a:ext cx="2330704" cy="471900"/>
              </a:xfrm>
              <a:prstGeom prst="roundRect">
                <a:avLst>
                  <a:gd name="adj" fmla="val 50000"/>
                </a:avLst>
              </a:prstGeom>
              <a:solidFill>
                <a:srgbClr val="7994B8"/>
              </a:solidFill>
              <a:ln>
                <a:noFill/>
              </a:ln>
            </p:spPr>
            <p:txBody>
              <a:bodyPr spcFirstLastPara="1" wrap="square" lIns="64007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2" name="Google Shape;216;p18">
                <a:extLst>
                  <a:ext uri="{FF2B5EF4-FFF2-40B4-BE49-F238E27FC236}">
                    <a16:creationId xmlns:a16="http://schemas.microsoft.com/office/drawing/2014/main" id="{926D1FC4-6921-BD85-8F46-420CD608A9E7}"/>
                  </a:ext>
                </a:extLst>
              </p:cNvPr>
              <p:cNvSpPr/>
              <p:nvPr/>
            </p:nvSpPr>
            <p:spPr>
              <a:xfrm>
                <a:off x="11413345" y="4068270"/>
                <a:ext cx="380399" cy="380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3" name="CuadroTexto 242">
                <a:extLst>
                  <a:ext uri="{FF2B5EF4-FFF2-40B4-BE49-F238E27FC236}">
                    <a16:creationId xmlns:a16="http://schemas.microsoft.com/office/drawing/2014/main" id="{374FAC21-75FB-C9CE-22E7-5E59E4546DC4}"/>
                  </a:ext>
                </a:extLst>
              </p:cNvPr>
              <p:cNvSpPr txBox="1"/>
              <p:nvPr/>
            </p:nvSpPr>
            <p:spPr>
              <a:xfrm>
                <a:off x="11406261" y="4063571"/>
                <a:ext cx="362930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s-ES" b="1" dirty="0">
                    <a:solidFill>
                      <a:srgbClr val="212E3E"/>
                    </a:solidFill>
                  </a:rPr>
                  <a:t>4</a:t>
                </a:r>
                <a:endParaRPr lang="es-ES" sz="1800" b="1" dirty="0">
                  <a:solidFill>
                    <a:srgbClr val="212E3E"/>
                  </a:solidFill>
                </a:endParaRPr>
              </a:p>
            </p:txBody>
          </p:sp>
        </p:grpSp>
        <p:sp>
          <p:nvSpPr>
            <p:cNvPr id="245" name="Google Shape;303;p20">
              <a:extLst>
                <a:ext uri="{FF2B5EF4-FFF2-40B4-BE49-F238E27FC236}">
                  <a16:creationId xmlns:a16="http://schemas.microsoft.com/office/drawing/2014/main" id="{8FCC2489-E763-D198-1E03-20AB10E9ABBA}"/>
                </a:ext>
              </a:extLst>
            </p:cNvPr>
            <p:cNvSpPr txBox="1"/>
            <p:nvPr/>
          </p:nvSpPr>
          <p:spPr>
            <a:xfrm>
              <a:off x="10351320" y="4431230"/>
              <a:ext cx="975895" cy="3751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VIESGO</a:t>
              </a:r>
            </a:p>
          </p:txBody>
        </p:sp>
        <p:grpSp>
          <p:nvGrpSpPr>
            <p:cNvPr id="246" name="Grupo 245">
              <a:extLst>
                <a:ext uri="{FF2B5EF4-FFF2-40B4-BE49-F238E27FC236}">
                  <a16:creationId xmlns:a16="http://schemas.microsoft.com/office/drawing/2014/main" id="{9291CC02-75A0-55AA-F2B8-D15BDB82A84C}"/>
                </a:ext>
              </a:extLst>
            </p:cNvPr>
            <p:cNvGrpSpPr/>
            <p:nvPr/>
          </p:nvGrpSpPr>
          <p:grpSpPr>
            <a:xfrm>
              <a:off x="9704501" y="2352370"/>
              <a:ext cx="2087723" cy="454078"/>
              <a:chOff x="9530880" y="4022520"/>
              <a:chExt cx="2330704" cy="471900"/>
            </a:xfrm>
          </p:grpSpPr>
          <p:sp>
            <p:nvSpPr>
              <p:cNvPr id="247" name="Google Shape;214;p18">
                <a:extLst>
                  <a:ext uri="{FF2B5EF4-FFF2-40B4-BE49-F238E27FC236}">
                    <a16:creationId xmlns:a16="http://schemas.microsoft.com/office/drawing/2014/main" id="{06CC1723-49CF-3C58-388B-68834ECED439}"/>
                  </a:ext>
                </a:extLst>
              </p:cNvPr>
              <p:cNvSpPr/>
              <p:nvPr/>
            </p:nvSpPr>
            <p:spPr>
              <a:xfrm>
                <a:off x="9530880" y="4022520"/>
                <a:ext cx="2330704" cy="471900"/>
              </a:xfrm>
              <a:prstGeom prst="roundRect">
                <a:avLst>
                  <a:gd name="adj" fmla="val 50000"/>
                </a:avLst>
              </a:prstGeom>
              <a:solidFill>
                <a:srgbClr val="00DD2B"/>
              </a:solidFill>
              <a:ln>
                <a:noFill/>
              </a:ln>
            </p:spPr>
            <p:txBody>
              <a:bodyPr spcFirstLastPara="1" wrap="square" lIns="64007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8" name="Google Shape;216;p18">
                <a:extLst>
                  <a:ext uri="{FF2B5EF4-FFF2-40B4-BE49-F238E27FC236}">
                    <a16:creationId xmlns:a16="http://schemas.microsoft.com/office/drawing/2014/main" id="{C5A59B9B-E58F-9592-FFB1-A4E47F5CD5EE}"/>
                  </a:ext>
                </a:extLst>
              </p:cNvPr>
              <p:cNvSpPr/>
              <p:nvPr/>
            </p:nvSpPr>
            <p:spPr>
              <a:xfrm>
                <a:off x="11413345" y="4068270"/>
                <a:ext cx="380400" cy="380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9" name="CuadroTexto 248">
                <a:extLst>
                  <a:ext uri="{FF2B5EF4-FFF2-40B4-BE49-F238E27FC236}">
                    <a16:creationId xmlns:a16="http://schemas.microsoft.com/office/drawing/2014/main" id="{FD4677B9-EE84-4835-1791-6E5296EB2D73}"/>
                  </a:ext>
                </a:extLst>
              </p:cNvPr>
              <p:cNvSpPr txBox="1"/>
              <p:nvPr/>
            </p:nvSpPr>
            <p:spPr>
              <a:xfrm>
                <a:off x="11422080" y="4073804"/>
                <a:ext cx="362930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s-ES" b="1" dirty="0">
                    <a:solidFill>
                      <a:srgbClr val="212E3E"/>
                    </a:solidFill>
                  </a:rPr>
                  <a:t>2</a:t>
                </a:r>
                <a:endParaRPr lang="es-ES" sz="1800" b="1" dirty="0">
                  <a:solidFill>
                    <a:srgbClr val="212E3E"/>
                  </a:solidFill>
                </a:endParaRPr>
              </a:p>
            </p:txBody>
          </p:sp>
        </p:grpSp>
        <p:sp>
          <p:nvSpPr>
            <p:cNvPr id="250" name="Google Shape;303;p20">
              <a:extLst>
                <a:ext uri="{FF2B5EF4-FFF2-40B4-BE49-F238E27FC236}">
                  <a16:creationId xmlns:a16="http://schemas.microsoft.com/office/drawing/2014/main" id="{28B9DD0C-5DAA-7796-E6B4-B4425A88EFDB}"/>
                </a:ext>
              </a:extLst>
            </p:cNvPr>
            <p:cNvSpPr txBox="1"/>
            <p:nvPr/>
          </p:nvSpPr>
          <p:spPr>
            <a:xfrm>
              <a:off x="10304857" y="2302184"/>
              <a:ext cx="975895" cy="3751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s-ES" sz="1400" b="1" dirty="0">
                  <a:solidFill>
                    <a:schemeClr val="bg1"/>
                  </a:solidFill>
                  <a:latin typeface="+mj-lt"/>
                  <a:ea typeface="Fira Sans Extra Condensed Medium"/>
                  <a:cs typeface="Fira Sans Extra Condensed Medium"/>
                  <a:sym typeface="Fira Sans Extra Condensed Medium"/>
                </a:rPr>
                <a:t>HC</a:t>
              </a:r>
            </a:p>
          </p:txBody>
        </p:sp>
        <p:grpSp>
          <p:nvGrpSpPr>
            <p:cNvPr id="231" name="Grupo 230">
              <a:extLst>
                <a:ext uri="{FF2B5EF4-FFF2-40B4-BE49-F238E27FC236}">
                  <a16:creationId xmlns:a16="http://schemas.microsoft.com/office/drawing/2014/main" id="{A8142A69-71FE-9DC7-FB76-D9E83BAA802C}"/>
                </a:ext>
              </a:extLst>
            </p:cNvPr>
            <p:cNvGrpSpPr/>
            <p:nvPr/>
          </p:nvGrpSpPr>
          <p:grpSpPr>
            <a:xfrm>
              <a:off x="7943439" y="2632648"/>
              <a:ext cx="3321432" cy="1870580"/>
              <a:chOff x="7791122" y="4025693"/>
              <a:chExt cx="3708000" cy="1944000"/>
            </a:xfrm>
          </p:grpSpPr>
          <p:sp>
            <p:nvSpPr>
              <p:cNvPr id="230" name="Rectángulo 229">
                <a:extLst>
                  <a:ext uri="{FF2B5EF4-FFF2-40B4-BE49-F238E27FC236}">
                    <a16:creationId xmlns:a16="http://schemas.microsoft.com/office/drawing/2014/main" id="{02CA9CC1-D00A-4AA4-32DF-01A91B1B0D61}"/>
                  </a:ext>
                </a:extLst>
              </p:cNvPr>
              <p:cNvSpPr/>
              <p:nvPr/>
            </p:nvSpPr>
            <p:spPr>
              <a:xfrm>
                <a:off x="7791122" y="4025693"/>
                <a:ext cx="3708000" cy="1944000"/>
              </a:xfrm>
              <a:prstGeom prst="rect">
                <a:avLst/>
              </a:prstGeom>
              <a:solidFill>
                <a:schemeClr val="bg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s-E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11" name="Grupo 210">
                <a:extLst>
                  <a:ext uri="{FF2B5EF4-FFF2-40B4-BE49-F238E27FC236}">
                    <a16:creationId xmlns:a16="http://schemas.microsoft.com/office/drawing/2014/main" id="{463AD10C-091B-96D7-9EF6-1600D9766756}"/>
                  </a:ext>
                </a:extLst>
              </p:cNvPr>
              <p:cNvGrpSpPr/>
              <p:nvPr/>
            </p:nvGrpSpPr>
            <p:grpSpPr>
              <a:xfrm>
                <a:off x="7863122" y="4097693"/>
                <a:ext cx="3564000" cy="1800000"/>
                <a:chOff x="3667915" y="4620890"/>
                <a:chExt cx="3513935" cy="1747681"/>
              </a:xfrm>
            </p:grpSpPr>
            <p:grpSp>
              <p:nvGrpSpPr>
                <p:cNvPr id="212" name="Grupo 211">
                  <a:extLst>
                    <a:ext uri="{FF2B5EF4-FFF2-40B4-BE49-F238E27FC236}">
                      <a16:creationId xmlns:a16="http://schemas.microsoft.com/office/drawing/2014/main" id="{2617259C-762C-28D2-21BF-98EAC1F5F755}"/>
                    </a:ext>
                  </a:extLst>
                </p:cNvPr>
                <p:cNvGrpSpPr/>
                <p:nvPr/>
              </p:nvGrpSpPr>
              <p:grpSpPr>
                <a:xfrm>
                  <a:off x="3667915" y="4620890"/>
                  <a:ext cx="3513935" cy="1747681"/>
                  <a:chOff x="2957232" y="1944337"/>
                  <a:chExt cx="4422807" cy="2199715"/>
                </a:xfrm>
              </p:grpSpPr>
              <p:pic>
                <p:nvPicPr>
                  <p:cNvPr id="219" name="Picture 2" descr="España: Provincias - Juego de Mapas - Seterra">
                    <a:extLst>
                      <a:ext uri="{FF2B5EF4-FFF2-40B4-BE49-F238E27FC236}">
                        <a16:creationId xmlns:a16="http://schemas.microsoft.com/office/drawing/2014/main" id="{A467BB78-68B3-F779-E88C-1849F56B3C2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4">
                    <a:duotone>
                      <a:prstClr val="black"/>
                      <a:schemeClr val="tx2">
                        <a:tint val="45000"/>
                        <a:satMod val="400000"/>
                      </a:schemeClr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r="48407" b="67009"/>
                  <a:stretch/>
                </p:blipFill>
                <p:spPr bwMode="auto">
                  <a:xfrm>
                    <a:off x="2957232" y="1944337"/>
                    <a:ext cx="4422807" cy="2199715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220" name="Picture 2" descr="España: Provincias - Juego de Mapas - Seterra">
                    <a:extLst>
                      <a:ext uri="{FF2B5EF4-FFF2-40B4-BE49-F238E27FC236}">
                        <a16:creationId xmlns:a16="http://schemas.microsoft.com/office/drawing/2014/main" id="{C8F87AA1-B9D0-6369-7F4F-FFD56A780AE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5">
                    <a:extLst>
                      <a:ext uri="{BEBA8EAE-BF5A-486C-A8C5-ECC9F3942E4B}">
                        <a14:imgProps xmlns:a14="http://schemas.microsoft.com/office/drawing/2010/main">
                          <a14:imgLayer r:embed="rId16">
                            <a14:imgEffect>
                              <a14:backgroundRemoval t="14584" b="30946" l="33031" r="40898">
                                <a14:foregroundMark x1="35778" y1="18714" x2="35778" y2="23429"/>
                                <a14:foregroundMark x1="35556" y1="25000" x2="36111" y2="27000"/>
                              </a14:backgroundRemoval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32048" t="12539" r="58119" b="67009"/>
                  <a:stretch/>
                </p:blipFill>
                <p:spPr bwMode="auto">
                  <a:xfrm>
                    <a:off x="5698334" y="2780348"/>
                    <a:ext cx="842962" cy="136370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221" name="Picture 2" descr="España: Provincias - Juego de Mapas - Seterra">
                    <a:extLst>
                      <a:ext uri="{FF2B5EF4-FFF2-40B4-BE49-F238E27FC236}">
                        <a16:creationId xmlns:a16="http://schemas.microsoft.com/office/drawing/2014/main" id="{AD11BE4A-DFBB-C30D-70A6-A966E65158B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7">
                    <a:extLst>
                      <a:ext uri="{BEBA8EAE-BF5A-486C-A8C5-ECC9F3942E4B}">
                        <a14:imgProps xmlns:a14="http://schemas.microsoft.com/office/drawing/2010/main">
                          <a14:imgLayer r:embed="rId16">
                            <a14:imgEffect>
                              <a14:backgroundRemoval t="1571" b="15143" l="17222" r="35778">
                                <a14:foregroundMark x1="19222" y1="8429" x2="18889" y2="9714"/>
                                <a14:foregroundMark x1="17222" y1="9286" x2="17556" y2="9286"/>
                              </a14:backgroundRemoval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6138" r="61918" b="83162"/>
                  <a:stretch/>
                </p:blipFill>
                <p:spPr bwMode="auto">
                  <a:xfrm>
                    <a:off x="4334995" y="1944337"/>
                    <a:ext cx="1881188" cy="112271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222" name="Picture 2" descr="España: Provincias - Juego de Mapas - Seterra">
                    <a:extLst>
                      <a:ext uri="{FF2B5EF4-FFF2-40B4-BE49-F238E27FC236}">
                        <a16:creationId xmlns:a16="http://schemas.microsoft.com/office/drawing/2014/main" id="{DF9FB1D3-7870-FE21-16D6-B734318FF75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8">
                    <a:extLst>
                      <a:ext uri="{BEBA8EAE-BF5A-486C-A8C5-ECC9F3942E4B}">
                        <a14:imgProps xmlns:a14="http://schemas.microsoft.com/office/drawing/2010/main">
                          <a14:imgLayer r:embed="rId16">
                            <a14:imgEffect>
                              <a14:backgroundRemoval t="4713" b="21713" l="11186" r="19765">
                                <a14:foregroundMark x1="15667" y1="9857" x2="14778" y2="14571"/>
                                <a14:foregroundMark x1="19000" y1="13000" x2="19333" y2="12857"/>
                              </a14:backgroundRemoval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0114" t="2588" r="79163" b="76162"/>
                  <a:stretch/>
                </p:blipFill>
                <p:spPr bwMode="auto">
                  <a:xfrm>
                    <a:off x="3819525" y="2107401"/>
                    <a:ext cx="919162" cy="141684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213" name="CuadroTexto 212">
                  <a:extLst>
                    <a:ext uri="{FF2B5EF4-FFF2-40B4-BE49-F238E27FC236}">
                      <a16:creationId xmlns:a16="http://schemas.microsoft.com/office/drawing/2014/main" id="{A6C76843-DD2F-4B73-3CA3-1AC31184A45D}"/>
                    </a:ext>
                  </a:extLst>
                </p:cNvPr>
                <p:cNvSpPr txBox="1"/>
                <p:nvPr/>
              </p:nvSpPr>
              <p:spPr>
                <a:xfrm>
                  <a:off x="4233713" y="5265673"/>
                  <a:ext cx="897429" cy="226219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es-ES" sz="600" b="1" dirty="0">
                      <a:solidFill>
                        <a:schemeClr val="bg1"/>
                      </a:solidFill>
                    </a:rPr>
                    <a:t>CASTRO DE O VALADOURO, LUGO</a:t>
                  </a:r>
                </a:p>
              </p:txBody>
            </p:sp>
            <p:sp>
              <p:nvSpPr>
                <p:cNvPr id="214" name="CuadroTexto 213">
                  <a:extLst>
                    <a:ext uri="{FF2B5EF4-FFF2-40B4-BE49-F238E27FC236}">
                      <a16:creationId xmlns:a16="http://schemas.microsoft.com/office/drawing/2014/main" id="{B55A31D7-45AC-DD78-A563-092DB7AE27A9}"/>
                    </a:ext>
                  </a:extLst>
                </p:cNvPr>
                <p:cNvSpPr txBox="1"/>
                <p:nvPr/>
              </p:nvSpPr>
              <p:spPr>
                <a:xfrm>
                  <a:off x="4996802" y="5153395"/>
                  <a:ext cx="897429" cy="226219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es-ES" sz="600" b="1" dirty="0">
                      <a:solidFill>
                        <a:schemeClr val="bg1"/>
                      </a:solidFill>
                    </a:rPr>
                    <a:t>FOLGUEIRAS, VEGADEO</a:t>
                  </a:r>
                </a:p>
              </p:txBody>
            </p:sp>
            <p:sp>
              <p:nvSpPr>
                <p:cNvPr id="215" name="CuadroTexto 214">
                  <a:extLst>
                    <a:ext uri="{FF2B5EF4-FFF2-40B4-BE49-F238E27FC236}">
                      <a16:creationId xmlns:a16="http://schemas.microsoft.com/office/drawing/2014/main" id="{3532CDDD-8DDF-2183-4FBE-59AF7EEF0A59}"/>
                    </a:ext>
                  </a:extLst>
                </p:cNvPr>
                <p:cNvSpPr txBox="1"/>
                <p:nvPr/>
              </p:nvSpPr>
              <p:spPr>
                <a:xfrm>
                  <a:off x="5692738" y="5581563"/>
                  <a:ext cx="897429" cy="226219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es-ES" sz="600" b="1" dirty="0">
                      <a:solidFill>
                        <a:schemeClr val="bg1"/>
                      </a:solidFill>
                    </a:rPr>
                    <a:t>MARCILLA DE CAMPOS, PALENCIA</a:t>
                  </a:r>
                </a:p>
              </p:txBody>
            </p:sp>
            <p:sp>
              <p:nvSpPr>
                <p:cNvPr id="216" name="Elipse 215">
                  <a:extLst>
                    <a:ext uri="{FF2B5EF4-FFF2-40B4-BE49-F238E27FC236}">
                      <a16:creationId xmlns:a16="http://schemas.microsoft.com/office/drawing/2014/main" id="{0EF9701F-4BE8-9ED8-75B7-B111A6A88A29}"/>
                    </a:ext>
                  </a:extLst>
                </p:cNvPr>
                <p:cNvSpPr/>
                <p:nvPr/>
              </p:nvSpPr>
              <p:spPr>
                <a:xfrm>
                  <a:off x="4606697" y="5141247"/>
                  <a:ext cx="108000" cy="108000"/>
                </a:xfrm>
                <a:prstGeom prst="ellipse">
                  <a:avLst/>
                </a:prstGeom>
                <a:noFill/>
                <a:ln w="6350" cap="sq">
                  <a:solidFill>
                    <a:srgbClr val="FFC000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s-ES" sz="700">
                      <a:solidFill>
                        <a:srgbClr val="FFC000"/>
                      </a:solidFill>
                    </a:rPr>
                    <a:t>1</a:t>
                  </a:r>
                  <a:endParaRPr lang="es-ES" sz="120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217" name="Elipse 216">
                  <a:extLst>
                    <a:ext uri="{FF2B5EF4-FFF2-40B4-BE49-F238E27FC236}">
                      <a16:creationId xmlns:a16="http://schemas.microsoft.com/office/drawing/2014/main" id="{0206A1D1-408C-7B44-D73D-FF8EC7F45B04}"/>
                    </a:ext>
                  </a:extLst>
                </p:cNvPr>
                <p:cNvSpPr/>
                <p:nvPr/>
              </p:nvSpPr>
              <p:spPr>
                <a:xfrm>
                  <a:off x="5356508" y="5033247"/>
                  <a:ext cx="108000" cy="108000"/>
                </a:xfrm>
                <a:prstGeom prst="ellipse">
                  <a:avLst/>
                </a:prstGeom>
                <a:noFill/>
                <a:ln w="6350" cap="sq">
                  <a:solidFill>
                    <a:srgbClr val="FFC000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s-ES" sz="700">
                      <a:solidFill>
                        <a:srgbClr val="FFC000"/>
                      </a:solidFill>
                    </a:rPr>
                    <a:t>2</a:t>
                  </a:r>
                  <a:endParaRPr lang="es-ES" sz="120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218" name="Elipse 217">
                  <a:extLst>
                    <a:ext uri="{FF2B5EF4-FFF2-40B4-BE49-F238E27FC236}">
                      <a16:creationId xmlns:a16="http://schemas.microsoft.com/office/drawing/2014/main" id="{F12ED974-29C7-64B4-890B-0578956499E3}"/>
                    </a:ext>
                  </a:extLst>
                </p:cNvPr>
                <p:cNvSpPr/>
                <p:nvPr/>
              </p:nvSpPr>
              <p:spPr>
                <a:xfrm>
                  <a:off x="6069924" y="5455314"/>
                  <a:ext cx="108000" cy="108000"/>
                </a:xfrm>
                <a:prstGeom prst="ellipse">
                  <a:avLst/>
                </a:prstGeom>
                <a:noFill/>
                <a:ln w="6350" cap="sq">
                  <a:solidFill>
                    <a:srgbClr val="FFC000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s-ES" sz="700" dirty="0">
                      <a:solidFill>
                        <a:srgbClr val="FFC000"/>
                      </a:solidFill>
                    </a:rPr>
                    <a:t>3</a:t>
                  </a:r>
                  <a:endParaRPr lang="es-ES" sz="1200" dirty="0">
                    <a:solidFill>
                      <a:srgbClr val="FFC000"/>
                    </a:solidFill>
                  </a:endParaRPr>
                </a:p>
              </p:txBody>
            </p:sp>
          </p:grpSp>
        </p:grpSp>
        <p:sp>
          <p:nvSpPr>
            <p:cNvPr id="258" name="CuadroTexto 257">
              <a:extLst>
                <a:ext uri="{FF2B5EF4-FFF2-40B4-BE49-F238E27FC236}">
                  <a16:creationId xmlns:a16="http://schemas.microsoft.com/office/drawing/2014/main" id="{5139018C-A4D4-071A-7C37-9E4FEAF7EEE6}"/>
                </a:ext>
              </a:extLst>
            </p:cNvPr>
            <p:cNvSpPr txBox="1"/>
            <p:nvPr/>
          </p:nvSpPr>
          <p:spPr>
            <a:xfrm>
              <a:off x="7449023" y="2051330"/>
              <a:ext cx="1822542" cy="31098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s-ES" sz="1100" b="1" u="sng" dirty="0">
                  <a:solidFill>
                    <a:srgbClr val="212E3E"/>
                  </a:solidFill>
                </a:rPr>
                <a:t>LAMT 20kV S_MARTIÑO </a:t>
              </a:r>
            </a:p>
          </p:txBody>
        </p:sp>
        <p:sp>
          <p:nvSpPr>
            <p:cNvPr id="259" name="CuadroTexto 258">
              <a:extLst>
                <a:ext uri="{FF2B5EF4-FFF2-40B4-BE49-F238E27FC236}">
                  <a16:creationId xmlns:a16="http://schemas.microsoft.com/office/drawing/2014/main" id="{1183252A-11F4-801D-1C64-992720B1B5AC}"/>
                </a:ext>
              </a:extLst>
            </p:cNvPr>
            <p:cNvSpPr txBox="1"/>
            <p:nvPr/>
          </p:nvSpPr>
          <p:spPr>
            <a:xfrm>
              <a:off x="9662499" y="2051330"/>
              <a:ext cx="2129725" cy="31098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1100" b="1" u="sng" dirty="0">
                  <a:solidFill>
                    <a:srgbClr val="3BFE00"/>
                  </a:solidFill>
                </a:rPr>
                <a:t>LAMT 20kV MERCASTURIAS</a:t>
              </a:r>
            </a:p>
          </p:txBody>
        </p:sp>
        <p:sp>
          <p:nvSpPr>
            <p:cNvPr id="260" name="CuadroTexto 259">
              <a:extLst>
                <a:ext uri="{FF2B5EF4-FFF2-40B4-BE49-F238E27FC236}">
                  <a16:creationId xmlns:a16="http://schemas.microsoft.com/office/drawing/2014/main" id="{DB3B2CEA-8726-EE4C-86DE-80ECFCC6F8FB}"/>
                </a:ext>
              </a:extLst>
            </p:cNvPr>
            <p:cNvSpPr txBox="1"/>
            <p:nvPr/>
          </p:nvSpPr>
          <p:spPr>
            <a:xfrm>
              <a:off x="7336402" y="4696947"/>
              <a:ext cx="1822542" cy="31098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s-ES" sz="1100" b="1" u="sng" dirty="0">
                  <a:solidFill>
                    <a:srgbClr val="7994B8"/>
                  </a:solidFill>
                </a:rPr>
                <a:t>LAMT 12kV VALDAVIA</a:t>
              </a:r>
            </a:p>
          </p:txBody>
        </p:sp>
        <p:sp>
          <p:nvSpPr>
            <p:cNvPr id="263" name="CuadroTexto 262">
              <a:extLst>
                <a:ext uri="{FF2B5EF4-FFF2-40B4-BE49-F238E27FC236}">
                  <a16:creationId xmlns:a16="http://schemas.microsoft.com/office/drawing/2014/main" id="{313ECFC0-1F7D-9F7A-9E2A-B718C7B3AA8A}"/>
                </a:ext>
              </a:extLst>
            </p:cNvPr>
            <p:cNvSpPr txBox="1"/>
            <p:nvPr/>
          </p:nvSpPr>
          <p:spPr>
            <a:xfrm>
              <a:off x="9791570" y="4696947"/>
              <a:ext cx="1897681" cy="31098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s-ES" sz="1100" b="1" u="sng" dirty="0">
                  <a:solidFill>
                    <a:srgbClr val="7994B8"/>
                  </a:solidFill>
                </a:rPr>
                <a:t>LAMT 12kV CILLAMAYOR</a:t>
              </a:r>
            </a:p>
          </p:txBody>
        </p:sp>
        <p:sp>
          <p:nvSpPr>
            <p:cNvPr id="66" name="CuadroTexto 65">
              <a:extLst>
                <a:ext uri="{FF2B5EF4-FFF2-40B4-BE49-F238E27FC236}">
                  <a16:creationId xmlns:a16="http://schemas.microsoft.com/office/drawing/2014/main" id="{F73EC301-466B-3A3A-4441-0FDFA5C0C6D2}"/>
                </a:ext>
              </a:extLst>
            </p:cNvPr>
            <p:cNvSpPr txBox="1"/>
            <p:nvPr/>
          </p:nvSpPr>
          <p:spPr>
            <a:xfrm>
              <a:off x="9885659" y="4001533"/>
              <a:ext cx="897429" cy="226219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s-ES" sz="600" b="1" dirty="0">
                  <a:solidFill>
                    <a:schemeClr val="bg1"/>
                  </a:solidFill>
                </a:rPr>
                <a:t>AGUILAR DE CAMPOO, PALENCIA</a:t>
              </a:r>
            </a:p>
          </p:txBody>
        </p:sp>
        <p:sp>
          <p:nvSpPr>
            <p:cNvPr id="67" name="Elipse 66">
              <a:extLst>
                <a:ext uri="{FF2B5EF4-FFF2-40B4-BE49-F238E27FC236}">
                  <a16:creationId xmlns:a16="http://schemas.microsoft.com/office/drawing/2014/main" id="{7F2A2507-3C39-FE00-0124-613A2DD34E0A}"/>
                </a:ext>
              </a:extLst>
            </p:cNvPr>
            <p:cNvSpPr/>
            <p:nvPr/>
          </p:nvSpPr>
          <p:spPr>
            <a:xfrm>
              <a:off x="10184510" y="3875641"/>
              <a:ext cx="108000" cy="108000"/>
            </a:xfrm>
            <a:prstGeom prst="ellipse">
              <a:avLst/>
            </a:prstGeom>
            <a:noFill/>
            <a:ln w="6350" cap="sq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s-ES" sz="700" dirty="0">
                  <a:solidFill>
                    <a:srgbClr val="FFC000"/>
                  </a:solidFill>
                </a:rPr>
                <a:t>4</a:t>
              </a:r>
              <a:endParaRPr lang="es-ES" sz="1200" dirty="0">
                <a:solidFill>
                  <a:srgbClr val="FFC000"/>
                </a:solidFill>
              </a:endParaRP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3061EFF0-28A4-EDA7-2672-C446B385B776}"/>
              </a:ext>
            </a:extLst>
          </p:cNvPr>
          <p:cNvSpPr txBox="1"/>
          <p:nvPr/>
        </p:nvSpPr>
        <p:spPr>
          <a:xfrm>
            <a:off x="6061476" y="901217"/>
            <a:ext cx="133403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Responsable</a:t>
            </a:r>
            <a:r>
              <a:rPr lang="es-ES" b="1" dirty="0">
                <a:solidFill>
                  <a:schemeClr val="tx1"/>
                </a:solidFill>
              </a:rPr>
              <a:t>: </a:t>
            </a:r>
            <a:endParaRPr lang="es-ES" dirty="0"/>
          </a:p>
        </p:txBody>
      </p:sp>
      <p:sp>
        <p:nvSpPr>
          <p:cNvPr id="10" name="Subtitle 4">
            <a:extLst>
              <a:ext uri="{FF2B5EF4-FFF2-40B4-BE49-F238E27FC236}">
                <a16:creationId xmlns:a16="http://schemas.microsoft.com/office/drawing/2014/main" id="{781FFB18-F35E-6E9E-71CE-3BF9B79D7F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542121"/>
            <a:ext cx="11082528" cy="215444"/>
          </a:xfrm>
        </p:spPr>
        <p:txBody>
          <a:bodyPr/>
          <a:lstStyle/>
          <a:p>
            <a:pPr>
              <a:buNone/>
            </a:pPr>
            <a:r>
              <a:rPr lang="es-ES" dirty="0">
                <a:solidFill>
                  <a:srgbClr val="57BAC7"/>
                </a:solidFill>
              </a:rPr>
              <a:t>Aplicación de nueva tecnología innovadora basada en Crucetas Aislantes</a:t>
            </a:r>
          </a:p>
        </p:txBody>
      </p:sp>
    </p:spTree>
    <p:extLst>
      <p:ext uri="{BB962C8B-B14F-4D97-AF65-F5344CB8AC3E}">
        <p14:creationId xmlns:p14="http://schemas.microsoft.com/office/powerpoint/2010/main" val="3013457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75142-B5A6-BAEA-D3D8-36C4CA7FC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D6743395-F569-4F5E-B20A-C164258BC31E}"/>
              </a:ext>
            </a:extLst>
          </p:cNvPr>
          <p:cNvGrpSpPr/>
          <p:nvPr/>
        </p:nvGrpSpPr>
        <p:grpSpPr>
          <a:xfrm>
            <a:off x="450030" y="3338658"/>
            <a:ext cx="10573450" cy="946824"/>
            <a:chOff x="480987" y="3641969"/>
            <a:chExt cx="10573450" cy="946824"/>
          </a:xfrm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78E1FF15-CC25-F3AB-2ACE-15FBFBAAC614}"/>
                </a:ext>
              </a:extLst>
            </p:cNvPr>
            <p:cNvSpPr/>
            <p:nvPr/>
          </p:nvSpPr>
          <p:spPr>
            <a:xfrm>
              <a:off x="480987" y="3641969"/>
              <a:ext cx="10573450" cy="946824"/>
            </a:xfrm>
            <a:custGeom>
              <a:avLst/>
              <a:gdLst>
                <a:gd name="connsiteX0" fmla="*/ 9272 w 9124697"/>
                <a:gd name="connsiteY0" fmla="*/ 895056 h 2003385"/>
                <a:gd name="connsiteX1" fmla="*/ 66422 w 9124697"/>
                <a:gd name="connsiteY1" fmla="*/ 895056 h 2003385"/>
                <a:gd name="connsiteX2" fmla="*/ 818897 w 9124697"/>
                <a:gd name="connsiteY2" fmla="*/ 914106 h 2003385"/>
                <a:gd name="connsiteX3" fmla="*/ 1514222 w 9124697"/>
                <a:gd name="connsiteY3" fmla="*/ 380706 h 2003385"/>
                <a:gd name="connsiteX4" fmla="*/ 2314322 w 9124697"/>
                <a:gd name="connsiteY4" fmla="*/ 142581 h 2003385"/>
                <a:gd name="connsiteX5" fmla="*/ 3933572 w 9124697"/>
                <a:gd name="connsiteY5" fmla="*/ 1780881 h 2003385"/>
                <a:gd name="connsiteX6" fmla="*/ 4990847 w 9124697"/>
                <a:gd name="connsiteY6" fmla="*/ 1799931 h 2003385"/>
                <a:gd name="connsiteX7" fmla="*/ 5990972 w 9124697"/>
                <a:gd name="connsiteY7" fmla="*/ 37806 h 2003385"/>
                <a:gd name="connsiteX8" fmla="*/ 7000622 w 9124697"/>
                <a:gd name="connsiteY8" fmla="*/ 618831 h 2003385"/>
                <a:gd name="connsiteX9" fmla="*/ 7705472 w 9124697"/>
                <a:gd name="connsiteY9" fmla="*/ 933156 h 2003385"/>
                <a:gd name="connsiteX10" fmla="*/ 9124697 w 9124697"/>
                <a:gd name="connsiteY10" fmla="*/ 714081 h 200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24697" h="2003385">
                  <a:moveTo>
                    <a:pt x="9272" y="895056"/>
                  </a:moveTo>
                  <a:cubicBezTo>
                    <a:pt x="-29622" y="893468"/>
                    <a:pt x="66422" y="895056"/>
                    <a:pt x="66422" y="895056"/>
                  </a:cubicBezTo>
                  <a:cubicBezTo>
                    <a:pt x="201359" y="898231"/>
                    <a:pt x="577597" y="999831"/>
                    <a:pt x="818897" y="914106"/>
                  </a:cubicBezTo>
                  <a:cubicBezTo>
                    <a:pt x="1060197" y="828381"/>
                    <a:pt x="1264985" y="509293"/>
                    <a:pt x="1514222" y="380706"/>
                  </a:cubicBezTo>
                  <a:cubicBezTo>
                    <a:pt x="1763460" y="252118"/>
                    <a:pt x="1911097" y="-90781"/>
                    <a:pt x="2314322" y="142581"/>
                  </a:cubicBezTo>
                  <a:cubicBezTo>
                    <a:pt x="2717547" y="375943"/>
                    <a:pt x="3487485" y="1504656"/>
                    <a:pt x="3933572" y="1780881"/>
                  </a:cubicBezTo>
                  <a:cubicBezTo>
                    <a:pt x="4379659" y="2057106"/>
                    <a:pt x="4647947" y="2090444"/>
                    <a:pt x="4990847" y="1799931"/>
                  </a:cubicBezTo>
                  <a:cubicBezTo>
                    <a:pt x="5333747" y="1509419"/>
                    <a:pt x="5656010" y="234656"/>
                    <a:pt x="5990972" y="37806"/>
                  </a:cubicBezTo>
                  <a:cubicBezTo>
                    <a:pt x="6325934" y="-159044"/>
                    <a:pt x="6714872" y="469606"/>
                    <a:pt x="7000622" y="618831"/>
                  </a:cubicBezTo>
                  <a:cubicBezTo>
                    <a:pt x="7286372" y="768056"/>
                    <a:pt x="7351460" y="917281"/>
                    <a:pt x="7705472" y="933156"/>
                  </a:cubicBezTo>
                  <a:cubicBezTo>
                    <a:pt x="8059484" y="949031"/>
                    <a:pt x="8592090" y="831556"/>
                    <a:pt x="9124697" y="714081"/>
                  </a:cubicBezTo>
                </a:path>
              </a:pathLst>
            </a:custGeom>
            <a:noFill/>
            <a:ln w="19050" cap="sq">
              <a:solidFill>
                <a:srgbClr val="212E3E"/>
              </a:solidFill>
              <a:prstDash val="sysDot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º</a:t>
              </a:r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C81E6EB4-3C42-5CC5-8AAB-99FB444CF06C}"/>
                </a:ext>
              </a:extLst>
            </p:cNvPr>
            <p:cNvSpPr/>
            <p:nvPr/>
          </p:nvSpPr>
          <p:spPr>
            <a:xfrm>
              <a:off x="480987" y="3641969"/>
              <a:ext cx="10573450" cy="946824"/>
            </a:xfrm>
            <a:custGeom>
              <a:avLst/>
              <a:gdLst>
                <a:gd name="connsiteX0" fmla="*/ 9272 w 9124697"/>
                <a:gd name="connsiteY0" fmla="*/ 895056 h 2003385"/>
                <a:gd name="connsiteX1" fmla="*/ 66422 w 9124697"/>
                <a:gd name="connsiteY1" fmla="*/ 895056 h 2003385"/>
                <a:gd name="connsiteX2" fmla="*/ 818897 w 9124697"/>
                <a:gd name="connsiteY2" fmla="*/ 914106 h 2003385"/>
                <a:gd name="connsiteX3" fmla="*/ 1514222 w 9124697"/>
                <a:gd name="connsiteY3" fmla="*/ 380706 h 2003385"/>
                <a:gd name="connsiteX4" fmla="*/ 2314322 w 9124697"/>
                <a:gd name="connsiteY4" fmla="*/ 142581 h 2003385"/>
                <a:gd name="connsiteX5" fmla="*/ 3933572 w 9124697"/>
                <a:gd name="connsiteY5" fmla="*/ 1780881 h 2003385"/>
                <a:gd name="connsiteX6" fmla="*/ 4990847 w 9124697"/>
                <a:gd name="connsiteY6" fmla="*/ 1799931 h 2003385"/>
                <a:gd name="connsiteX7" fmla="*/ 5990972 w 9124697"/>
                <a:gd name="connsiteY7" fmla="*/ 37806 h 2003385"/>
                <a:gd name="connsiteX8" fmla="*/ 7000622 w 9124697"/>
                <a:gd name="connsiteY8" fmla="*/ 618831 h 2003385"/>
                <a:gd name="connsiteX9" fmla="*/ 7705472 w 9124697"/>
                <a:gd name="connsiteY9" fmla="*/ 933156 h 2003385"/>
                <a:gd name="connsiteX10" fmla="*/ 9124697 w 9124697"/>
                <a:gd name="connsiteY10" fmla="*/ 714081 h 200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24697" h="2003385">
                  <a:moveTo>
                    <a:pt x="9272" y="895056"/>
                  </a:moveTo>
                  <a:cubicBezTo>
                    <a:pt x="-29622" y="893468"/>
                    <a:pt x="66422" y="895056"/>
                    <a:pt x="66422" y="895056"/>
                  </a:cubicBezTo>
                  <a:cubicBezTo>
                    <a:pt x="201359" y="898231"/>
                    <a:pt x="577597" y="999831"/>
                    <a:pt x="818897" y="914106"/>
                  </a:cubicBezTo>
                  <a:cubicBezTo>
                    <a:pt x="1060197" y="828381"/>
                    <a:pt x="1264985" y="509293"/>
                    <a:pt x="1514222" y="380706"/>
                  </a:cubicBezTo>
                  <a:cubicBezTo>
                    <a:pt x="1763460" y="252118"/>
                    <a:pt x="1911097" y="-90781"/>
                    <a:pt x="2314322" y="142581"/>
                  </a:cubicBezTo>
                  <a:cubicBezTo>
                    <a:pt x="2717547" y="375943"/>
                    <a:pt x="3487485" y="1504656"/>
                    <a:pt x="3933572" y="1780881"/>
                  </a:cubicBezTo>
                  <a:cubicBezTo>
                    <a:pt x="4379659" y="2057106"/>
                    <a:pt x="4647947" y="2090444"/>
                    <a:pt x="4990847" y="1799931"/>
                  </a:cubicBezTo>
                  <a:cubicBezTo>
                    <a:pt x="5333747" y="1509419"/>
                    <a:pt x="5656010" y="234656"/>
                    <a:pt x="5990972" y="37806"/>
                  </a:cubicBezTo>
                  <a:cubicBezTo>
                    <a:pt x="6325934" y="-159044"/>
                    <a:pt x="6714872" y="469606"/>
                    <a:pt x="7000622" y="618831"/>
                  </a:cubicBezTo>
                  <a:cubicBezTo>
                    <a:pt x="7286372" y="768056"/>
                    <a:pt x="7351460" y="917281"/>
                    <a:pt x="7705472" y="933156"/>
                  </a:cubicBezTo>
                  <a:cubicBezTo>
                    <a:pt x="8059484" y="949031"/>
                    <a:pt x="8592090" y="831556"/>
                    <a:pt x="9124697" y="714081"/>
                  </a:cubicBezTo>
                </a:path>
              </a:pathLst>
            </a:custGeom>
            <a:noFill/>
            <a:ln w="57150" cap="sq">
              <a:solidFill>
                <a:srgbClr val="212E3E">
                  <a:alpha val="27059"/>
                </a:srgbClr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º</a:t>
              </a: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1A612142-96C7-6F9D-5757-9D5CAC6B3D0A}"/>
              </a:ext>
            </a:extLst>
          </p:cNvPr>
          <p:cNvSpPr txBox="1"/>
          <p:nvPr/>
        </p:nvSpPr>
        <p:spPr>
          <a:xfrm>
            <a:off x="880468" y="1535559"/>
            <a:ext cx="3152887" cy="7177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+mj-lt"/>
                <a:cs typeface="Arial" panose="020B0604020202020204" pitchFamily="34" charset="0"/>
              </a:rPr>
              <a:t>DEFINICIÓN DE UBIACIONES</a:t>
            </a:r>
          </a:p>
          <a:p>
            <a:pPr algn="just"/>
            <a:r>
              <a:rPr lang="es-ES" sz="12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Atendiendo a diferentes criterios.</a:t>
            </a:r>
          </a:p>
          <a:p>
            <a:pPr algn="just"/>
            <a:r>
              <a:rPr lang="es-ES" sz="12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Líneas pendientes de cambio de aislamiento y líneas que, una vez adaptadas, presentan problemas de operación y mantenimiento provocando averías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dirty="0">
                <a:solidFill>
                  <a:srgbClr val="409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C2E61C3-034D-CC4A-F3D4-133B0A34DBC5}"/>
              </a:ext>
            </a:extLst>
          </p:cNvPr>
          <p:cNvSpPr txBox="1"/>
          <p:nvPr/>
        </p:nvSpPr>
        <p:spPr>
          <a:xfrm>
            <a:off x="2261214" y="4604735"/>
            <a:ext cx="3653530" cy="7177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+mj-lt"/>
                <a:cs typeface="Arial" panose="020B0604020202020204" pitchFamily="34" charset="0"/>
              </a:rPr>
              <a:t>VALIDACIÓN LCOE</a:t>
            </a:r>
          </a:p>
          <a:p>
            <a:r>
              <a:rPr lang="es-ES" sz="12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Confirmación por parte de LCOE de que la solución cumple con el RD 1432/2008 y por tanto se puede evitar el forrado de elementos en tensión en zona avifauna con esta alternativa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dirty="0">
                <a:solidFill>
                  <a:srgbClr val="409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11E2272-5590-B877-D630-429B7A8BA54C}"/>
              </a:ext>
            </a:extLst>
          </p:cNvPr>
          <p:cNvSpPr txBox="1"/>
          <p:nvPr/>
        </p:nvSpPr>
        <p:spPr>
          <a:xfrm>
            <a:off x="5323031" y="1404356"/>
            <a:ext cx="3401108" cy="7177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+mj-lt"/>
                <a:cs typeface="Arial" panose="020B0604020202020204" pitchFamily="34" charset="0"/>
              </a:rPr>
              <a:t>PLAN DE ENSAYOS</a:t>
            </a:r>
          </a:p>
          <a:p>
            <a:r>
              <a:rPr lang="es-ES" sz="12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Diseñado y completado plan de ensayos eléctricos, mecánicos y de materiales para validar su utilización, según normativa de aplicación</a:t>
            </a:r>
            <a:r>
              <a:rPr lang="es-ES" sz="12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dirty="0">
                <a:solidFill>
                  <a:srgbClr val="409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44292CB9-0534-0942-1495-CC9CA79791B3}"/>
              </a:ext>
            </a:extLst>
          </p:cNvPr>
          <p:cNvSpPr/>
          <p:nvPr/>
        </p:nvSpPr>
        <p:spPr>
          <a:xfrm>
            <a:off x="700469" y="3673720"/>
            <a:ext cx="180000" cy="180000"/>
          </a:xfrm>
          <a:prstGeom prst="ellipse">
            <a:avLst/>
          </a:prstGeom>
          <a:solidFill>
            <a:srgbClr val="212E3E"/>
          </a:solidFill>
          <a:ln w="6350" cap="sq">
            <a:solidFill>
              <a:srgbClr val="212E3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F1DA3D80-81E4-181E-C73D-6DA83A8E6E3A}"/>
              </a:ext>
            </a:extLst>
          </p:cNvPr>
          <p:cNvCxnSpPr>
            <a:cxnSpLocks/>
          </p:cNvCxnSpPr>
          <p:nvPr/>
        </p:nvCxnSpPr>
        <p:spPr>
          <a:xfrm>
            <a:off x="790468" y="1535559"/>
            <a:ext cx="0" cy="2138161"/>
          </a:xfrm>
          <a:prstGeom prst="line">
            <a:avLst/>
          </a:prstGeom>
          <a:ln w="9525" cap="flat">
            <a:solidFill>
              <a:srgbClr val="409066">
                <a:alpha val="80000"/>
              </a:srgbClr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8B7661A6-6EEB-1B99-F656-9931B33323DE}"/>
              </a:ext>
            </a:extLst>
          </p:cNvPr>
          <p:cNvCxnSpPr>
            <a:cxnSpLocks/>
          </p:cNvCxnSpPr>
          <p:nvPr/>
        </p:nvCxnSpPr>
        <p:spPr>
          <a:xfrm>
            <a:off x="790468" y="1535559"/>
            <a:ext cx="0" cy="2138161"/>
          </a:xfrm>
          <a:prstGeom prst="line">
            <a:avLst/>
          </a:prstGeom>
          <a:noFill/>
          <a:ln w="57150" cap="sq">
            <a:solidFill>
              <a:srgbClr val="212E3E">
                <a:alpha val="27059"/>
              </a:srgb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Elipse 12">
            <a:extLst>
              <a:ext uri="{FF2B5EF4-FFF2-40B4-BE49-F238E27FC236}">
                <a16:creationId xmlns:a16="http://schemas.microsoft.com/office/drawing/2014/main" id="{BEA4BF17-612B-BB80-AC56-A8E50569F363}"/>
              </a:ext>
            </a:extLst>
          </p:cNvPr>
          <p:cNvSpPr/>
          <p:nvPr/>
        </p:nvSpPr>
        <p:spPr>
          <a:xfrm>
            <a:off x="5068155" y="4115735"/>
            <a:ext cx="180000" cy="180000"/>
          </a:xfrm>
          <a:prstGeom prst="ellipse">
            <a:avLst/>
          </a:prstGeom>
          <a:solidFill>
            <a:srgbClr val="212E3E"/>
          </a:solidFill>
          <a:ln w="6350" cap="sq">
            <a:solidFill>
              <a:srgbClr val="212E3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A1414E83-B7DF-3484-8E78-59AE5D1C539B}"/>
              </a:ext>
            </a:extLst>
          </p:cNvPr>
          <p:cNvGrpSpPr/>
          <p:nvPr/>
        </p:nvGrpSpPr>
        <p:grpSpPr>
          <a:xfrm>
            <a:off x="5158154" y="1448570"/>
            <a:ext cx="45719" cy="2664000"/>
            <a:chOff x="6516943" y="1722035"/>
            <a:chExt cx="0" cy="2405148"/>
          </a:xfrm>
        </p:grpSpPr>
        <p:cxnSp>
          <p:nvCxnSpPr>
            <p:cNvPr id="15" name="Conector recto 14">
              <a:extLst>
                <a:ext uri="{FF2B5EF4-FFF2-40B4-BE49-F238E27FC236}">
                  <a16:creationId xmlns:a16="http://schemas.microsoft.com/office/drawing/2014/main" id="{145664CD-CA03-1CB7-D0B0-7E279BC3CF3F}"/>
                </a:ext>
              </a:extLst>
            </p:cNvPr>
            <p:cNvCxnSpPr>
              <a:cxnSpLocks/>
            </p:cNvCxnSpPr>
            <p:nvPr/>
          </p:nvCxnSpPr>
          <p:spPr>
            <a:xfrm>
              <a:off x="6516943" y="1722035"/>
              <a:ext cx="0" cy="2405148"/>
            </a:xfrm>
            <a:prstGeom prst="line">
              <a:avLst/>
            </a:prstGeom>
            <a:ln w="9525" cap="flat">
              <a:solidFill>
                <a:srgbClr val="212E3E">
                  <a:alpha val="80000"/>
                </a:srgbClr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cto 15">
              <a:extLst>
                <a:ext uri="{FF2B5EF4-FFF2-40B4-BE49-F238E27FC236}">
                  <a16:creationId xmlns:a16="http://schemas.microsoft.com/office/drawing/2014/main" id="{3A0BC4FE-D438-3B5F-9A3F-5BC41897DC2B}"/>
                </a:ext>
              </a:extLst>
            </p:cNvPr>
            <p:cNvCxnSpPr>
              <a:cxnSpLocks/>
            </p:cNvCxnSpPr>
            <p:nvPr/>
          </p:nvCxnSpPr>
          <p:spPr>
            <a:xfrm>
              <a:off x="6516943" y="1722035"/>
              <a:ext cx="0" cy="2405148"/>
            </a:xfrm>
            <a:prstGeom prst="line">
              <a:avLst/>
            </a:prstGeom>
            <a:noFill/>
            <a:ln w="57150" cap="sq">
              <a:solidFill>
                <a:srgbClr val="212E3E">
                  <a:alpha val="27059"/>
                </a:srgbClr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0CAD59A3-3DEC-BE37-0C96-38949C21E557}"/>
              </a:ext>
            </a:extLst>
          </p:cNvPr>
          <p:cNvSpPr txBox="1"/>
          <p:nvPr/>
        </p:nvSpPr>
        <p:spPr>
          <a:xfrm>
            <a:off x="7365394" y="4636838"/>
            <a:ext cx="3471018" cy="7177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+mj-lt"/>
                <a:cs typeface="Arial" panose="020B0604020202020204" pitchFamily="34" charset="0"/>
              </a:rPr>
              <a:t>PUESTA EN SERVICIO</a:t>
            </a:r>
          </a:p>
          <a:p>
            <a:r>
              <a:rPr lang="es-ES" sz="12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Instalación de las crucetas en campo. </a:t>
            </a:r>
          </a:p>
          <a:p>
            <a:r>
              <a:rPr lang="es-ES" sz="12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Recepción de materiales 2ª quincena de septiembre. Tiempo estimado de instalación en torno a dos meses. </a:t>
            </a:r>
            <a:endParaRPr lang="es-ES" sz="1200" dirty="0">
              <a:solidFill>
                <a:srgbClr val="40906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53F5DEAE-0CE8-F19D-3F50-1590D8873819}"/>
              </a:ext>
            </a:extLst>
          </p:cNvPr>
          <p:cNvSpPr/>
          <p:nvPr/>
        </p:nvSpPr>
        <p:spPr>
          <a:xfrm>
            <a:off x="7191466" y="3302570"/>
            <a:ext cx="180000" cy="180000"/>
          </a:xfrm>
          <a:prstGeom prst="ellipse">
            <a:avLst/>
          </a:prstGeom>
          <a:solidFill>
            <a:srgbClr val="212E3E"/>
          </a:solidFill>
          <a:ln w="6350" cap="sq">
            <a:solidFill>
              <a:srgbClr val="212E3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0200BABC-AFEF-8585-6F89-16BD5EDF1321}"/>
              </a:ext>
            </a:extLst>
          </p:cNvPr>
          <p:cNvGrpSpPr/>
          <p:nvPr/>
        </p:nvGrpSpPr>
        <p:grpSpPr>
          <a:xfrm>
            <a:off x="7275393" y="3491116"/>
            <a:ext cx="76953" cy="2059562"/>
            <a:chOff x="8091877" y="3845160"/>
            <a:chExt cx="0" cy="2287462"/>
          </a:xfrm>
        </p:grpSpPr>
        <p:cxnSp>
          <p:nvCxnSpPr>
            <p:cNvPr id="20" name="Conector recto 19">
              <a:extLst>
                <a:ext uri="{FF2B5EF4-FFF2-40B4-BE49-F238E27FC236}">
                  <a16:creationId xmlns:a16="http://schemas.microsoft.com/office/drawing/2014/main" id="{9889B561-E130-93DE-7106-ED19031F8703}"/>
                </a:ext>
              </a:extLst>
            </p:cNvPr>
            <p:cNvCxnSpPr>
              <a:cxnSpLocks/>
            </p:cNvCxnSpPr>
            <p:nvPr/>
          </p:nvCxnSpPr>
          <p:spPr>
            <a:xfrm>
              <a:off x="8091877" y="3845160"/>
              <a:ext cx="0" cy="2287462"/>
            </a:xfrm>
            <a:prstGeom prst="line">
              <a:avLst/>
            </a:prstGeom>
            <a:ln w="9525" cap="flat">
              <a:solidFill>
                <a:srgbClr val="212E3E">
                  <a:alpha val="80000"/>
                </a:srgbClr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22">
              <a:extLst>
                <a:ext uri="{FF2B5EF4-FFF2-40B4-BE49-F238E27FC236}">
                  <a16:creationId xmlns:a16="http://schemas.microsoft.com/office/drawing/2014/main" id="{6259A4D2-98CC-30A5-E6A9-0A01DA8013B3}"/>
                </a:ext>
              </a:extLst>
            </p:cNvPr>
            <p:cNvCxnSpPr>
              <a:cxnSpLocks/>
            </p:cNvCxnSpPr>
            <p:nvPr/>
          </p:nvCxnSpPr>
          <p:spPr>
            <a:xfrm>
              <a:off x="8091877" y="3845160"/>
              <a:ext cx="0" cy="2287462"/>
            </a:xfrm>
            <a:prstGeom prst="line">
              <a:avLst/>
            </a:prstGeom>
            <a:noFill/>
            <a:ln w="57150" cap="sq">
              <a:solidFill>
                <a:srgbClr val="212E3E">
                  <a:alpha val="27059"/>
                </a:srgbClr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4" name="Google Shape;832;p30">
            <a:extLst>
              <a:ext uri="{FF2B5EF4-FFF2-40B4-BE49-F238E27FC236}">
                <a16:creationId xmlns:a16="http://schemas.microsoft.com/office/drawing/2014/main" id="{73CFC00A-8D91-CC70-C427-04A7C9165DB0}"/>
              </a:ext>
            </a:extLst>
          </p:cNvPr>
          <p:cNvSpPr/>
          <p:nvPr/>
        </p:nvSpPr>
        <p:spPr>
          <a:xfrm>
            <a:off x="965675" y="2709664"/>
            <a:ext cx="891900" cy="891900"/>
          </a:xfrm>
          <a:prstGeom prst="octagon">
            <a:avLst>
              <a:gd name="adj" fmla="val 29289"/>
            </a:avLst>
          </a:prstGeom>
          <a:solidFill>
            <a:srgbClr val="212E3E">
              <a:alpha val="58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833;p30">
            <a:extLst>
              <a:ext uri="{FF2B5EF4-FFF2-40B4-BE49-F238E27FC236}">
                <a16:creationId xmlns:a16="http://schemas.microsoft.com/office/drawing/2014/main" id="{6FD86C6A-F120-34DD-D40B-AF57CEC025DD}"/>
              </a:ext>
            </a:extLst>
          </p:cNvPr>
          <p:cNvSpPr/>
          <p:nvPr/>
        </p:nvSpPr>
        <p:spPr>
          <a:xfrm>
            <a:off x="1037300" y="2781287"/>
            <a:ext cx="721943" cy="748500"/>
          </a:xfrm>
          <a:prstGeom prst="octagon">
            <a:avLst>
              <a:gd name="adj" fmla="val 29289"/>
            </a:avLst>
          </a:prstGeom>
          <a:solidFill>
            <a:srgbClr val="212E3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40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DIC24</a:t>
            </a:r>
            <a:endParaRPr sz="140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26" name="Google Shape;832;p30">
            <a:extLst>
              <a:ext uri="{FF2B5EF4-FFF2-40B4-BE49-F238E27FC236}">
                <a16:creationId xmlns:a16="http://schemas.microsoft.com/office/drawing/2014/main" id="{5F5D2BB3-7F58-D490-2437-621A0A607E28}"/>
              </a:ext>
            </a:extLst>
          </p:cNvPr>
          <p:cNvSpPr/>
          <p:nvPr/>
        </p:nvSpPr>
        <p:spPr>
          <a:xfrm>
            <a:off x="2310581" y="3617542"/>
            <a:ext cx="891900" cy="891900"/>
          </a:xfrm>
          <a:prstGeom prst="octagon">
            <a:avLst>
              <a:gd name="adj" fmla="val 29289"/>
            </a:avLst>
          </a:prstGeom>
          <a:solidFill>
            <a:srgbClr val="00DD2B">
              <a:alpha val="58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833;p30">
            <a:extLst>
              <a:ext uri="{FF2B5EF4-FFF2-40B4-BE49-F238E27FC236}">
                <a16:creationId xmlns:a16="http://schemas.microsoft.com/office/drawing/2014/main" id="{97E33C81-45BE-B965-6A5D-67A4A88D24B5}"/>
              </a:ext>
            </a:extLst>
          </p:cNvPr>
          <p:cNvSpPr/>
          <p:nvPr/>
        </p:nvSpPr>
        <p:spPr>
          <a:xfrm>
            <a:off x="2382206" y="3689165"/>
            <a:ext cx="721943" cy="748500"/>
          </a:xfrm>
          <a:prstGeom prst="octagon">
            <a:avLst>
              <a:gd name="adj" fmla="val 29289"/>
            </a:avLst>
          </a:prstGeom>
          <a:solidFill>
            <a:srgbClr val="00DD2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5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FEB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5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25</a:t>
            </a:r>
            <a:endParaRPr sz="125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28" name="Google Shape;832;p30">
            <a:extLst>
              <a:ext uri="{FF2B5EF4-FFF2-40B4-BE49-F238E27FC236}">
                <a16:creationId xmlns:a16="http://schemas.microsoft.com/office/drawing/2014/main" id="{EDD88EBC-8E54-2EEA-8968-E1378C7F3DBD}"/>
              </a:ext>
            </a:extLst>
          </p:cNvPr>
          <p:cNvSpPr/>
          <p:nvPr/>
        </p:nvSpPr>
        <p:spPr>
          <a:xfrm>
            <a:off x="5394724" y="2289881"/>
            <a:ext cx="891900" cy="891900"/>
          </a:xfrm>
          <a:prstGeom prst="octagon">
            <a:avLst>
              <a:gd name="adj" fmla="val 29289"/>
            </a:avLst>
          </a:prstGeom>
          <a:solidFill>
            <a:srgbClr val="156082">
              <a:alpha val="58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833;p30">
            <a:extLst>
              <a:ext uri="{FF2B5EF4-FFF2-40B4-BE49-F238E27FC236}">
                <a16:creationId xmlns:a16="http://schemas.microsoft.com/office/drawing/2014/main" id="{4937D89E-C9A6-C701-1076-26D1DD0A2D5F}"/>
              </a:ext>
            </a:extLst>
          </p:cNvPr>
          <p:cNvSpPr/>
          <p:nvPr/>
        </p:nvSpPr>
        <p:spPr>
          <a:xfrm>
            <a:off x="5466349" y="2361504"/>
            <a:ext cx="721943" cy="748500"/>
          </a:xfrm>
          <a:prstGeom prst="octagon">
            <a:avLst>
              <a:gd name="adj" fmla="val 29289"/>
            </a:avLst>
          </a:prstGeom>
          <a:solidFill>
            <a:srgbClr val="15608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5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JUL 25</a:t>
            </a:r>
            <a:endParaRPr sz="125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30" name="Google Shape;832;p30">
            <a:extLst>
              <a:ext uri="{FF2B5EF4-FFF2-40B4-BE49-F238E27FC236}">
                <a16:creationId xmlns:a16="http://schemas.microsoft.com/office/drawing/2014/main" id="{F33E4461-77F8-5142-C480-5BEB4E3BF2A2}"/>
              </a:ext>
            </a:extLst>
          </p:cNvPr>
          <p:cNvSpPr/>
          <p:nvPr/>
        </p:nvSpPr>
        <p:spPr>
          <a:xfrm>
            <a:off x="7384647" y="3565860"/>
            <a:ext cx="891900" cy="891900"/>
          </a:xfrm>
          <a:prstGeom prst="octagon">
            <a:avLst>
              <a:gd name="adj" fmla="val 29289"/>
            </a:avLst>
          </a:prstGeom>
          <a:solidFill>
            <a:srgbClr val="02FFF4">
              <a:alpha val="58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833;p30">
            <a:extLst>
              <a:ext uri="{FF2B5EF4-FFF2-40B4-BE49-F238E27FC236}">
                <a16:creationId xmlns:a16="http://schemas.microsoft.com/office/drawing/2014/main" id="{0A7ADC5B-13BA-2D17-9880-7C183FA43801}"/>
              </a:ext>
            </a:extLst>
          </p:cNvPr>
          <p:cNvSpPr/>
          <p:nvPr/>
        </p:nvSpPr>
        <p:spPr>
          <a:xfrm>
            <a:off x="7456272" y="3637483"/>
            <a:ext cx="721943" cy="748500"/>
          </a:xfrm>
          <a:prstGeom prst="octagon">
            <a:avLst>
              <a:gd name="adj" fmla="val 29289"/>
            </a:avLst>
          </a:prstGeom>
          <a:solidFill>
            <a:srgbClr val="02FFF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NOV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25</a:t>
            </a:r>
            <a:endParaRPr sz="120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94F8E13A-A01D-5ECF-8200-F2568C06B39E}"/>
              </a:ext>
            </a:extLst>
          </p:cNvPr>
          <p:cNvSpPr/>
          <p:nvPr/>
        </p:nvSpPr>
        <p:spPr>
          <a:xfrm>
            <a:off x="2067559" y="3439710"/>
            <a:ext cx="180000" cy="180000"/>
          </a:xfrm>
          <a:prstGeom prst="ellipse">
            <a:avLst/>
          </a:prstGeom>
          <a:solidFill>
            <a:srgbClr val="212E3E"/>
          </a:solidFill>
          <a:ln w="6350" cap="sq">
            <a:solidFill>
              <a:srgbClr val="212E3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grpSp>
        <p:nvGrpSpPr>
          <p:cNvPr id="33" name="Grupo 32">
            <a:extLst>
              <a:ext uri="{FF2B5EF4-FFF2-40B4-BE49-F238E27FC236}">
                <a16:creationId xmlns:a16="http://schemas.microsoft.com/office/drawing/2014/main" id="{D80CFB8B-E82C-90E7-5BA8-EE2CC2C085B8}"/>
              </a:ext>
            </a:extLst>
          </p:cNvPr>
          <p:cNvGrpSpPr/>
          <p:nvPr/>
        </p:nvGrpSpPr>
        <p:grpSpPr>
          <a:xfrm>
            <a:off x="2151486" y="3482974"/>
            <a:ext cx="49815" cy="2019104"/>
            <a:chOff x="8091877" y="3845160"/>
            <a:chExt cx="0" cy="2287462"/>
          </a:xfrm>
        </p:grpSpPr>
        <p:cxnSp>
          <p:nvCxnSpPr>
            <p:cNvPr id="34" name="Conector recto 33">
              <a:extLst>
                <a:ext uri="{FF2B5EF4-FFF2-40B4-BE49-F238E27FC236}">
                  <a16:creationId xmlns:a16="http://schemas.microsoft.com/office/drawing/2014/main" id="{9EAF8AAB-4EDB-F7F0-E53C-AE7C0C4E8E92}"/>
                </a:ext>
              </a:extLst>
            </p:cNvPr>
            <p:cNvCxnSpPr>
              <a:cxnSpLocks/>
            </p:cNvCxnSpPr>
            <p:nvPr/>
          </p:nvCxnSpPr>
          <p:spPr>
            <a:xfrm>
              <a:off x="8091877" y="3845160"/>
              <a:ext cx="0" cy="2287462"/>
            </a:xfrm>
            <a:prstGeom prst="line">
              <a:avLst/>
            </a:prstGeom>
            <a:ln w="9525" cap="flat">
              <a:solidFill>
                <a:srgbClr val="212E3E">
                  <a:alpha val="80000"/>
                </a:srgbClr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cto 34">
              <a:extLst>
                <a:ext uri="{FF2B5EF4-FFF2-40B4-BE49-F238E27FC236}">
                  <a16:creationId xmlns:a16="http://schemas.microsoft.com/office/drawing/2014/main" id="{8307BD6B-92BB-8A66-75D5-DB4112B82913}"/>
                </a:ext>
              </a:extLst>
            </p:cNvPr>
            <p:cNvCxnSpPr>
              <a:cxnSpLocks/>
            </p:cNvCxnSpPr>
            <p:nvPr/>
          </p:nvCxnSpPr>
          <p:spPr>
            <a:xfrm>
              <a:off x="8091877" y="3845160"/>
              <a:ext cx="0" cy="2287462"/>
            </a:xfrm>
            <a:prstGeom prst="line">
              <a:avLst/>
            </a:prstGeom>
            <a:noFill/>
            <a:ln w="57150" cap="sq">
              <a:solidFill>
                <a:srgbClr val="212E3E">
                  <a:alpha val="27059"/>
                </a:srgbClr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6" name="CuadroTexto 35">
            <a:extLst>
              <a:ext uri="{FF2B5EF4-FFF2-40B4-BE49-F238E27FC236}">
                <a16:creationId xmlns:a16="http://schemas.microsoft.com/office/drawing/2014/main" id="{F298303A-EA7B-D91F-1C00-9146302A74C3}"/>
              </a:ext>
            </a:extLst>
          </p:cNvPr>
          <p:cNvSpPr txBox="1"/>
          <p:nvPr/>
        </p:nvSpPr>
        <p:spPr>
          <a:xfrm>
            <a:off x="9352802" y="1404356"/>
            <a:ext cx="2423302" cy="7177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+mj-lt"/>
                <a:cs typeface="Arial" panose="020B0604020202020204" pitchFamily="34" charset="0"/>
              </a:rPr>
              <a:t>OTROS CASOS DE USO</a:t>
            </a:r>
          </a:p>
          <a:p>
            <a:pPr marL="171450" indent="-171450">
              <a:buFontTx/>
              <a:buChar char="-"/>
            </a:pPr>
            <a:r>
              <a:rPr lang="es-ES" sz="1100" b="1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Repotenciación.</a:t>
            </a:r>
          </a:p>
          <a:p>
            <a:r>
              <a:rPr lang="es-ES" sz="11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Mayor compactación de líneas. Servidumbres menores.</a:t>
            </a:r>
          </a:p>
          <a:p>
            <a:pPr marL="171450" indent="-171450">
              <a:buFontTx/>
              <a:buChar char="-"/>
            </a:pPr>
            <a:r>
              <a:rPr lang="es-ES" sz="1100" b="1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Distancias.</a:t>
            </a:r>
          </a:p>
          <a:p>
            <a:r>
              <a:rPr lang="es-ES" sz="1100" dirty="0">
                <a:solidFill>
                  <a:srgbClr val="434343"/>
                </a:solidFill>
                <a:latin typeface="+mj-lt"/>
                <a:ea typeface="Roboto"/>
                <a:cs typeface="Roboto"/>
                <a:sym typeface="Roboto"/>
              </a:rPr>
              <a:t>Resolución de defectos de distancias al ahorrar altura de aisladore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200" dirty="0">
                <a:solidFill>
                  <a:srgbClr val="409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73175B24-BE73-4946-3124-283A7D0E7F00}"/>
              </a:ext>
            </a:extLst>
          </p:cNvPr>
          <p:cNvSpPr/>
          <p:nvPr/>
        </p:nvSpPr>
        <p:spPr>
          <a:xfrm>
            <a:off x="9097926" y="3671353"/>
            <a:ext cx="180000" cy="180000"/>
          </a:xfrm>
          <a:prstGeom prst="ellipse">
            <a:avLst/>
          </a:prstGeom>
          <a:solidFill>
            <a:srgbClr val="212E3E"/>
          </a:solidFill>
          <a:ln w="6350" cap="sq">
            <a:solidFill>
              <a:srgbClr val="212E3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2C095798-8B60-0249-6000-C164485EF860}"/>
              </a:ext>
            </a:extLst>
          </p:cNvPr>
          <p:cNvGrpSpPr/>
          <p:nvPr/>
        </p:nvGrpSpPr>
        <p:grpSpPr>
          <a:xfrm>
            <a:off x="9187925" y="1448570"/>
            <a:ext cx="108000" cy="2340000"/>
            <a:chOff x="6516943" y="1722035"/>
            <a:chExt cx="0" cy="2405148"/>
          </a:xfrm>
        </p:grpSpPr>
        <p:cxnSp>
          <p:nvCxnSpPr>
            <p:cNvPr id="39" name="Conector recto 38">
              <a:extLst>
                <a:ext uri="{FF2B5EF4-FFF2-40B4-BE49-F238E27FC236}">
                  <a16:creationId xmlns:a16="http://schemas.microsoft.com/office/drawing/2014/main" id="{C33195AA-7F6B-12A9-DD83-55FA7DC5DFE5}"/>
                </a:ext>
              </a:extLst>
            </p:cNvPr>
            <p:cNvCxnSpPr>
              <a:cxnSpLocks/>
            </p:cNvCxnSpPr>
            <p:nvPr/>
          </p:nvCxnSpPr>
          <p:spPr>
            <a:xfrm>
              <a:off x="6516943" y="1722035"/>
              <a:ext cx="0" cy="2405148"/>
            </a:xfrm>
            <a:prstGeom prst="line">
              <a:avLst/>
            </a:prstGeom>
            <a:ln w="9525" cap="flat">
              <a:solidFill>
                <a:srgbClr val="212E3E">
                  <a:alpha val="80000"/>
                </a:srgbClr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cto 39">
              <a:extLst>
                <a:ext uri="{FF2B5EF4-FFF2-40B4-BE49-F238E27FC236}">
                  <a16:creationId xmlns:a16="http://schemas.microsoft.com/office/drawing/2014/main" id="{56D86A12-F04F-6A96-EA43-55E4151C161E}"/>
                </a:ext>
              </a:extLst>
            </p:cNvPr>
            <p:cNvCxnSpPr>
              <a:cxnSpLocks/>
            </p:cNvCxnSpPr>
            <p:nvPr/>
          </p:nvCxnSpPr>
          <p:spPr>
            <a:xfrm>
              <a:off x="6516943" y="1722035"/>
              <a:ext cx="0" cy="2405148"/>
            </a:xfrm>
            <a:prstGeom prst="line">
              <a:avLst/>
            </a:prstGeom>
            <a:noFill/>
            <a:ln w="57150" cap="sq">
              <a:solidFill>
                <a:srgbClr val="212E3E">
                  <a:alpha val="27059"/>
                </a:srgbClr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1" name="Google Shape;832;p30">
            <a:extLst>
              <a:ext uri="{FF2B5EF4-FFF2-40B4-BE49-F238E27FC236}">
                <a16:creationId xmlns:a16="http://schemas.microsoft.com/office/drawing/2014/main" id="{BDE4BA87-81BB-DDC7-CB3B-CB9D72DFF30B}"/>
              </a:ext>
            </a:extLst>
          </p:cNvPr>
          <p:cNvSpPr/>
          <p:nvPr/>
        </p:nvSpPr>
        <p:spPr>
          <a:xfrm>
            <a:off x="9368096" y="2743219"/>
            <a:ext cx="891900" cy="891900"/>
          </a:xfrm>
          <a:prstGeom prst="octagon">
            <a:avLst>
              <a:gd name="adj" fmla="val 29289"/>
            </a:avLst>
          </a:prstGeom>
          <a:solidFill>
            <a:srgbClr val="7994B8">
              <a:alpha val="58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833;p30">
            <a:extLst>
              <a:ext uri="{FF2B5EF4-FFF2-40B4-BE49-F238E27FC236}">
                <a16:creationId xmlns:a16="http://schemas.microsoft.com/office/drawing/2014/main" id="{D5349DD6-ABB4-1C68-7ECF-330D500F8E04}"/>
              </a:ext>
            </a:extLst>
          </p:cNvPr>
          <p:cNvSpPr/>
          <p:nvPr/>
        </p:nvSpPr>
        <p:spPr>
          <a:xfrm>
            <a:off x="9439721" y="2814842"/>
            <a:ext cx="721943" cy="748500"/>
          </a:xfrm>
          <a:prstGeom prst="octagon">
            <a:avLst>
              <a:gd name="adj" fmla="val 29289"/>
            </a:avLst>
          </a:prstGeom>
          <a:solidFill>
            <a:srgbClr val="7994B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50" b="1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&gt;25</a:t>
            </a:r>
            <a:endParaRPr sz="1250" b="1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43" name="TextBox 10">
            <a:extLst>
              <a:ext uri="{FF2B5EF4-FFF2-40B4-BE49-F238E27FC236}">
                <a16:creationId xmlns:a16="http://schemas.microsoft.com/office/drawing/2014/main" id="{A794BABD-9BC9-5B6C-EC20-A9BBBBEACC3F}"/>
              </a:ext>
            </a:extLst>
          </p:cNvPr>
          <p:cNvSpPr txBox="1"/>
          <p:nvPr/>
        </p:nvSpPr>
        <p:spPr>
          <a:xfrm>
            <a:off x="-1" y="931996"/>
            <a:ext cx="12192000" cy="3385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447675"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s-ES_tradnl" sz="1600" b="1" dirty="0">
                <a:latin typeface="FT Base Semibold"/>
              </a:rPr>
              <a:t>Mejora ingeniería red aérea mediante crucetas aislantes</a:t>
            </a:r>
          </a:p>
        </p:txBody>
      </p:sp>
      <p:sp>
        <p:nvSpPr>
          <p:cNvPr id="47" name="Rectangle: Rounded Corners 36">
            <a:extLst>
              <a:ext uri="{FF2B5EF4-FFF2-40B4-BE49-F238E27FC236}">
                <a16:creationId xmlns:a16="http://schemas.microsoft.com/office/drawing/2014/main" id="{06C540E1-7F74-A453-A8C7-5F8261D854D6}"/>
              </a:ext>
            </a:extLst>
          </p:cNvPr>
          <p:cNvSpPr/>
          <p:nvPr/>
        </p:nvSpPr>
        <p:spPr>
          <a:xfrm>
            <a:off x="0" y="5678658"/>
            <a:ext cx="12192000" cy="1051198"/>
          </a:xfrm>
          <a:prstGeom prst="roundRect">
            <a:avLst>
              <a:gd name="adj" fmla="val 0"/>
            </a:avLst>
          </a:prstGeom>
          <a:solidFill>
            <a:srgbClr val="BBC9D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45720" rIns="360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endParaRPr lang="es-ES" sz="12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pic>
        <p:nvPicPr>
          <p:cNvPr id="2050" name="Picture 2" descr="Home - CIGRE. Comité Nacional de España.">
            <a:extLst>
              <a:ext uri="{FF2B5EF4-FFF2-40B4-BE49-F238E27FC236}">
                <a16:creationId xmlns:a16="http://schemas.microsoft.com/office/drawing/2014/main" id="{FD44ABDE-2C32-FD97-0897-171FD4C74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901" y="5854604"/>
            <a:ext cx="3138746" cy="94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2026年 CIGREパリ大会|パリ大会|イベント情報|日本CIGRE国内委員会ウェブサイト">
            <a:extLst>
              <a:ext uri="{FF2B5EF4-FFF2-40B4-BE49-F238E27FC236}">
                <a16:creationId xmlns:a16="http://schemas.microsoft.com/office/drawing/2014/main" id="{66293F6F-D07E-D090-4F8A-60921E938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0189" y="5868873"/>
            <a:ext cx="1619068" cy="772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Formación - Iconos gratis de personas">
            <a:extLst>
              <a:ext uri="{FF2B5EF4-FFF2-40B4-BE49-F238E27FC236}">
                <a16:creationId xmlns:a16="http://schemas.microsoft.com/office/drawing/2014/main" id="{38A0F48F-91F0-C1D9-D7D8-2BCC9BB5E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65" y="5809861"/>
            <a:ext cx="753006" cy="753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285CC989-0779-DEE9-1BDE-36DA33A4344F}"/>
              </a:ext>
            </a:extLst>
          </p:cNvPr>
          <p:cNvSpPr txBox="1"/>
          <p:nvPr/>
        </p:nvSpPr>
        <p:spPr>
          <a:xfrm>
            <a:off x="797624" y="5827511"/>
            <a:ext cx="3138746" cy="7177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IÓN FORMATIV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EVA TECNOLOGÍ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ANDER 25 SEPT. 2025</a:t>
            </a:r>
            <a:endParaRPr lang="es-ES" sz="1200" dirty="0">
              <a:solidFill>
                <a:srgbClr val="409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itle 3">
            <a:extLst>
              <a:ext uri="{FF2B5EF4-FFF2-40B4-BE49-F238E27FC236}">
                <a16:creationId xmlns:a16="http://schemas.microsoft.com/office/drawing/2014/main" id="{B1295BDC-3FA0-34C0-BE36-04DF41269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3"/>
            <a:ext cx="11082528" cy="369332"/>
          </a:xfrm>
        </p:spPr>
        <p:txBody>
          <a:bodyPr/>
          <a:lstStyle/>
          <a:p>
            <a:r>
              <a:rPr lang="es-ES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Proyecto de Mejora de la Red de Distribución – EDP Redes España</a:t>
            </a:r>
          </a:p>
        </p:txBody>
      </p:sp>
      <p:sp>
        <p:nvSpPr>
          <p:cNvPr id="51" name="Subtitle 4">
            <a:extLst>
              <a:ext uri="{FF2B5EF4-FFF2-40B4-BE49-F238E27FC236}">
                <a16:creationId xmlns:a16="http://schemas.microsoft.com/office/drawing/2014/main" id="{32162D3E-54A3-4D90-EF7B-854007933B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542121"/>
            <a:ext cx="11082528" cy="215444"/>
          </a:xfrm>
        </p:spPr>
        <p:txBody>
          <a:bodyPr/>
          <a:lstStyle/>
          <a:p>
            <a:pPr>
              <a:buNone/>
            </a:pPr>
            <a:r>
              <a:rPr lang="es-ES" dirty="0">
                <a:solidFill>
                  <a:srgbClr val="57BAC7"/>
                </a:solidFill>
              </a:rPr>
              <a:t>Aplicación de nueva tecnología innovadora basada en Crucetas Aislantes</a:t>
            </a:r>
          </a:p>
        </p:txBody>
      </p:sp>
      <p:sp>
        <p:nvSpPr>
          <p:cNvPr id="52" name="Rectángulo 5">
            <a:extLst>
              <a:ext uri="{FF2B5EF4-FFF2-40B4-BE49-F238E27FC236}">
                <a16:creationId xmlns:a16="http://schemas.microsoft.com/office/drawing/2014/main" id="{C161E3E4-FFF5-6E81-9A1E-09EEEE4291A3}"/>
              </a:ext>
            </a:extLst>
          </p:cNvPr>
          <p:cNvSpPr/>
          <p:nvPr/>
        </p:nvSpPr>
        <p:spPr>
          <a:xfrm>
            <a:off x="9463889" y="974114"/>
            <a:ext cx="2613457" cy="23825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200" b="1" dirty="0">
                <a:solidFill>
                  <a:schemeClr val="tx1"/>
                </a:solidFill>
              </a:rPr>
              <a:t>Fecha fin: </a:t>
            </a:r>
            <a:r>
              <a:rPr lang="es-ES" sz="1200" dirty="0">
                <a:solidFill>
                  <a:schemeClr val="tx1"/>
                </a:solidFill>
              </a:rPr>
              <a:t>Nov 2025</a:t>
            </a:r>
          </a:p>
        </p:txBody>
      </p:sp>
      <p:sp>
        <p:nvSpPr>
          <p:cNvPr id="53" name="Rectángulo 5">
            <a:extLst>
              <a:ext uri="{FF2B5EF4-FFF2-40B4-BE49-F238E27FC236}">
                <a16:creationId xmlns:a16="http://schemas.microsoft.com/office/drawing/2014/main" id="{95716353-22F2-BAE0-52DC-BE50B846A96E}"/>
              </a:ext>
            </a:extLst>
          </p:cNvPr>
          <p:cNvSpPr/>
          <p:nvPr/>
        </p:nvSpPr>
        <p:spPr>
          <a:xfrm>
            <a:off x="7964836" y="974114"/>
            <a:ext cx="2613457" cy="23825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200" b="1" dirty="0">
                <a:solidFill>
                  <a:schemeClr val="tx1"/>
                </a:solidFill>
              </a:rPr>
              <a:t>Fecha inicio: </a:t>
            </a:r>
            <a:r>
              <a:rPr lang="es-ES" sz="1200" dirty="0">
                <a:solidFill>
                  <a:schemeClr val="tx1"/>
                </a:solidFill>
              </a:rPr>
              <a:t>Dic 2024</a:t>
            </a:r>
          </a:p>
        </p:txBody>
      </p:sp>
      <p:sp>
        <p:nvSpPr>
          <p:cNvPr id="54" name="Rectángulo 5">
            <a:extLst>
              <a:ext uri="{FF2B5EF4-FFF2-40B4-BE49-F238E27FC236}">
                <a16:creationId xmlns:a16="http://schemas.microsoft.com/office/drawing/2014/main" id="{13FE6077-33D6-89C5-F1A2-B706AE16C105}"/>
              </a:ext>
            </a:extLst>
          </p:cNvPr>
          <p:cNvSpPr/>
          <p:nvPr/>
        </p:nvSpPr>
        <p:spPr>
          <a:xfrm>
            <a:off x="7079910" y="998892"/>
            <a:ext cx="1681144" cy="206124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400" dirty="0">
                <a:solidFill>
                  <a:schemeClr val="tx1"/>
                </a:solidFill>
              </a:rPr>
              <a:t>Estíbaliz Palacios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75E79B47-7507-55A9-35AC-B3363A8B42ED}"/>
              </a:ext>
            </a:extLst>
          </p:cNvPr>
          <p:cNvSpPr txBox="1"/>
          <p:nvPr/>
        </p:nvSpPr>
        <p:spPr>
          <a:xfrm>
            <a:off x="6061476" y="901217"/>
            <a:ext cx="133403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Responsable</a:t>
            </a:r>
            <a:r>
              <a:rPr lang="es-ES" b="1" dirty="0">
                <a:solidFill>
                  <a:schemeClr val="tx1"/>
                </a:solidFill>
              </a:rPr>
              <a:t>: </a:t>
            </a:r>
            <a:endParaRPr lang="es-ES" dirty="0"/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5AA26B25-A2DE-2807-B764-CF35D88EDEBE}"/>
              </a:ext>
            </a:extLst>
          </p:cNvPr>
          <p:cNvSpPr txBox="1"/>
          <p:nvPr/>
        </p:nvSpPr>
        <p:spPr>
          <a:xfrm>
            <a:off x="4317526" y="5706236"/>
            <a:ext cx="3138746" cy="17579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PTADA PONENCIA – Nov25</a:t>
            </a:r>
            <a:endParaRPr lang="es-ES" sz="1200" dirty="0">
              <a:solidFill>
                <a:srgbClr val="409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1CA25B0E-0A85-F64D-8CFC-1BC9E9792C18}"/>
              </a:ext>
            </a:extLst>
          </p:cNvPr>
          <p:cNvSpPr txBox="1"/>
          <p:nvPr/>
        </p:nvSpPr>
        <p:spPr>
          <a:xfrm>
            <a:off x="8370350" y="5681102"/>
            <a:ext cx="3138746" cy="17579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1200" b="1" u="sng" dirty="0">
                <a:solidFill>
                  <a:srgbClr val="212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UESTA DE  PONENCIA</a:t>
            </a:r>
            <a:endParaRPr lang="es-ES" sz="1200" dirty="0">
              <a:solidFill>
                <a:srgbClr val="409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500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75142-B5A6-BAEA-D3D8-36C4CA7FC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604D2E51-4AC3-283B-1031-4BC560EAE832}"/>
              </a:ext>
            </a:extLst>
          </p:cNvPr>
          <p:cNvSpPr txBox="1"/>
          <p:nvPr/>
        </p:nvSpPr>
        <p:spPr>
          <a:xfrm>
            <a:off x="-1" y="931996"/>
            <a:ext cx="12192000" cy="3385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447675"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s-ES_tradnl" sz="1600" b="1" dirty="0">
                <a:latin typeface="FT Base Semibold"/>
              </a:rPr>
              <a:t>Mejora ingeniería red aérea mediante crucetas aislantes</a:t>
            </a: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F970FF94-25DC-06E4-8C41-2DC7FCB0E3BE}"/>
              </a:ext>
            </a:extLst>
          </p:cNvPr>
          <p:cNvSpPr/>
          <p:nvPr/>
        </p:nvSpPr>
        <p:spPr>
          <a:xfrm>
            <a:off x="1114073" y="1819099"/>
            <a:ext cx="9830152" cy="4386643"/>
          </a:xfrm>
          <a:prstGeom prst="roundRect">
            <a:avLst/>
          </a:prstGeom>
          <a:solidFill>
            <a:srgbClr val="212E3E"/>
          </a:solidFill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sp>
        <p:nvSpPr>
          <p:cNvPr id="10" name="Google Shape;214;p18">
            <a:extLst>
              <a:ext uri="{FF2B5EF4-FFF2-40B4-BE49-F238E27FC236}">
                <a16:creationId xmlns:a16="http://schemas.microsoft.com/office/drawing/2014/main" id="{020D9203-2840-23A5-0D82-C077649363A5}"/>
              </a:ext>
            </a:extLst>
          </p:cNvPr>
          <p:cNvSpPr/>
          <p:nvPr/>
        </p:nvSpPr>
        <p:spPr>
          <a:xfrm>
            <a:off x="4318034" y="1645612"/>
            <a:ext cx="3422230" cy="690625"/>
          </a:xfrm>
          <a:prstGeom prst="roundRect">
            <a:avLst>
              <a:gd name="adj" fmla="val 50000"/>
            </a:avLst>
          </a:prstGeom>
          <a:solidFill>
            <a:srgbClr val="212E3E"/>
          </a:solidFill>
          <a:ln>
            <a:noFill/>
          </a:ln>
        </p:spPr>
        <p:txBody>
          <a:bodyPr spcFirstLastPara="1" wrap="square" lIns="64007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b="1" dirty="0">
              <a:solidFill>
                <a:srgbClr val="FFFFFF"/>
              </a:solidFill>
            </a:endParaRPr>
          </a:p>
        </p:txBody>
      </p:sp>
      <p:pic>
        <p:nvPicPr>
          <p:cNvPr id="12" name="Cillamayor 12 kV  cambio aislamiento">
            <a:hlinkClick r:id="" action="ppaction://media"/>
            <a:extLst>
              <a:ext uri="{FF2B5EF4-FFF2-40B4-BE49-F238E27FC236}">
                <a16:creationId xmlns:a16="http://schemas.microsoft.com/office/drawing/2014/main" id="{F95DE5B5-B164-E7C5-4412-12E3C17415A9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24916"/>
                </p14:media>
              </p:ext>
            </p:extLst>
          </p:nvPr>
        </p:nvPicPr>
        <p:blipFill>
          <a:blip r:embed="rId5"/>
          <a:srcRect t="9096" b="45545"/>
          <a:stretch/>
        </p:blipFill>
        <p:spPr>
          <a:xfrm>
            <a:off x="1800269" y="2619861"/>
            <a:ext cx="3881437" cy="3110670"/>
          </a:xfrm>
          <a:prstGeom prst="rect">
            <a:avLst/>
          </a:prstGeom>
          <a:ln w="19050">
            <a:solidFill>
              <a:srgbClr val="7994B8"/>
            </a:solidFill>
          </a:ln>
        </p:spPr>
      </p:pic>
      <p:sp>
        <p:nvSpPr>
          <p:cNvPr id="14" name="Google Shape;303;p20">
            <a:extLst>
              <a:ext uri="{FF2B5EF4-FFF2-40B4-BE49-F238E27FC236}">
                <a16:creationId xmlns:a16="http://schemas.microsoft.com/office/drawing/2014/main" id="{33628103-8034-6837-6CEF-DA3FD1AA8D3C}"/>
              </a:ext>
            </a:extLst>
          </p:cNvPr>
          <p:cNvSpPr txBox="1"/>
          <p:nvPr/>
        </p:nvSpPr>
        <p:spPr>
          <a:xfrm>
            <a:off x="4442978" y="1890093"/>
            <a:ext cx="3172342" cy="375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+mj-lt"/>
                <a:ea typeface="Fira Sans Extra Condensed Medium"/>
                <a:cs typeface="Fira Sans Extra Condensed Medium"/>
                <a:sym typeface="Fira Sans Extra Condensed Medium"/>
              </a:rPr>
              <a:t>DOCUMENTACIÓN GRÁFIC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E1F62133-DAF3-5587-8033-9338B2316ADC}"/>
              </a:ext>
            </a:extLst>
          </p:cNvPr>
          <p:cNvSpPr txBox="1"/>
          <p:nvPr/>
        </p:nvSpPr>
        <p:spPr>
          <a:xfrm>
            <a:off x="1800269" y="2619861"/>
            <a:ext cx="3881437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</a:rPr>
              <a:t>Inclinación cadena suspensión central por fuertes vientos en enero 2025 en LMT </a:t>
            </a:r>
            <a:r>
              <a:rPr lang="es-ES" sz="1200" dirty="0" err="1">
                <a:solidFill>
                  <a:schemeClr val="bg1"/>
                </a:solidFill>
              </a:rPr>
              <a:t>Cillamayor</a:t>
            </a:r>
            <a:endParaRPr lang="es-ES" sz="1200" dirty="0">
              <a:solidFill>
                <a:schemeClr val="bg1"/>
              </a:solidFill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273B866A-95E8-C5A1-208B-E6D782735E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5999" y="2689868"/>
            <a:ext cx="2267118" cy="242659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C96E051D-086B-A37E-F449-5609B9FF8C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4326" y="3738251"/>
            <a:ext cx="3179780" cy="1926758"/>
          </a:xfrm>
          <a:prstGeom prst="rect">
            <a:avLst/>
          </a:prstGeom>
        </p:spPr>
      </p:pic>
      <p:sp>
        <p:nvSpPr>
          <p:cNvPr id="23" name="Rectángulo 22">
            <a:extLst>
              <a:ext uri="{FF2B5EF4-FFF2-40B4-BE49-F238E27FC236}">
                <a16:creationId xmlns:a16="http://schemas.microsoft.com/office/drawing/2014/main" id="{D1E81103-777E-E19F-B840-7127564612AB}"/>
              </a:ext>
            </a:extLst>
          </p:cNvPr>
          <p:cNvSpPr/>
          <p:nvPr/>
        </p:nvSpPr>
        <p:spPr>
          <a:xfrm>
            <a:off x="6008718" y="2605169"/>
            <a:ext cx="4575097" cy="3140054"/>
          </a:xfrm>
          <a:prstGeom prst="rect">
            <a:avLst/>
          </a:prstGeom>
          <a:noFill/>
          <a:ln w="19050" cap="sq">
            <a:solidFill>
              <a:srgbClr val="7994B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 err="1">
              <a:solidFill>
                <a:schemeClr val="bg1"/>
              </a:solidFill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EB6266AE-4F3C-BF33-D8BB-B89E09F42787}"/>
              </a:ext>
            </a:extLst>
          </p:cNvPr>
          <p:cNvSpPr txBox="1"/>
          <p:nvPr/>
        </p:nvSpPr>
        <p:spPr>
          <a:xfrm>
            <a:off x="8457945" y="2772788"/>
            <a:ext cx="1941333" cy="8309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</a:rPr>
              <a:t>Ensayos Mecánicos internos </a:t>
            </a:r>
            <a:r>
              <a:rPr lang="es-ES" sz="1200" dirty="0" err="1">
                <a:solidFill>
                  <a:schemeClr val="bg1"/>
                </a:solidFill>
              </a:rPr>
              <a:t>Shemar</a:t>
            </a:r>
            <a:r>
              <a:rPr lang="es-ES" sz="1200" dirty="0">
                <a:solidFill>
                  <a:schemeClr val="bg1"/>
                </a:solidFill>
              </a:rPr>
              <a:t>:  cruceta bóveda y cruceta recta.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</a:rPr>
              <a:t>Abril 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471CCC-DB45-C929-40AD-CDE59269B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3"/>
            <a:ext cx="11082528" cy="369332"/>
          </a:xfrm>
        </p:spPr>
        <p:txBody>
          <a:bodyPr/>
          <a:lstStyle/>
          <a:p>
            <a:r>
              <a:rPr lang="es-ES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Proyecto de Mejora de la Red de Distribución – EDP Redes España</a:t>
            </a:r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54931DD1-B053-228C-2285-716960EFD7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542121"/>
            <a:ext cx="11082528" cy="215444"/>
          </a:xfrm>
        </p:spPr>
        <p:txBody>
          <a:bodyPr/>
          <a:lstStyle/>
          <a:p>
            <a:pPr>
              <a:buNone/>
            </a:pPr>
            <a:r>
              <a:rPr lang="es-ES" dirty="0">
                <a:solidFill>
                  <a:srgbClr val="57BAC7"/>
                </a:solidFill>
              </a:rPr>
              <a:t>Aplicación de nueva tecnología innovadora basada en Crucetas Aislantes</a:t>
            </a:r>
          </a:p>
        </p:txBody>
      </p:sp>
      <p:sp>
        <p:nvSpPr>
          <p:cNvPr id="7" name="Rectángulo 5">
            <a:extLst>
              <a:ext uri="{FF2B5EF4-FFF2-40B4-BE49-F238E27FC236}">
                <a16:creationId xmlns:a16="http://schemas.microsoft.com/office/drawing/2014/main" id="{ECE0DDBD-03E0-3717-B027-D41FB0ECCEED}"/>
              </a:ext>
            </a:extLst>
          </p:cNvPr>
          <p:cNvSpPr/>
          <p:nvPr/>
        </p:nvSpPr>
        <p:spPr>
          <a:xfrm>
            <a:off x="9463889" y="974114"/>
            <a:ext cx="2613457" cy="23825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200" b="1" dirty="0">
                <a:solidFill>
                  <a:schemeClr val="tx1"/>
                </a:solidFill>
              </a:rPr>
              <a:t>Fecha fin: </a:t>
            </a:r>
            <a:r>
              <a:rPr lang="es-ES" sz="1200" dirty="0">
                <a:solidFill>
                  <a:schemeClr val="tx1"/>
                </a:solidFill>
              </a:rPr>
              <a:t>Nov 2025</a:t>
            </a:r>
          </a:p>
        </p:txBody>
      </p:sp>
      <p:sp>
        <p:nvSpPr>
          <p:cNvPr id="8" name="Rectángulo 5">
            <a:extLst>
              <a:ext uri="{FF2B5EF4-FFF2-40B4-BE49-F238E27FC236}">
                <a16:creationId xmlns:a16="http://schemas.microsoft.com/office/drawing/2014/main" id="{683755F9-C250-2296-E001-B390126588A7}"/>
              </a:ext>
            </a:extLst>
          </p:cNvPr>
          <p:cNvSpPr/>
          <p:nvPr/>
        </p:nvSpPr>
        <p:spPr>
          <a:xfrm>
            <a:off x="7964836" y="974114"/>
            <a:ext cx="2613457" cy="23825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200" b="1" dirty="0">
                <a:solidFill>
                  <a:schemeClr val="tx1"/>
                </a:solidFill>
              </a:rPr>
              <a:t>Fecha inicio: </a:t>
            </a:r>
            <a:r>
              <a:rPr lang="es-ES" sz="1200" dirty="0">
                <a:solidFill>
                  <a:schemeClr val="tx1"/>
                </a:solidFill>
              </a:rPr>
              <a:t>Dic 2024</a:t>
            </a:r>
          </a:p>
        </p:txBody>
      </p:sp>
      <p:sp>
        <p:nvSpPr>
          <p:cNvPr id="9" name="Rectángulo 5">
            <a:extLst>
              <a:ext uri="{FF2B5EF4-FFF2-40B4-BE49-F238E27FC236}">
                <a16:creationId xmlns:a16="http://schemas.microsoft.com/office/drawing/2014/main" id="{2915CDC5-82D7-8E94-6C11-1C460CE13E53}"/>
              </a:ext>
            </a:extLst>
          </p:cNvPr>
          <p:cNvSpPr/>
          <p:nvPr/>
        </p:nvSpPr>
        <p:spPr>
          <a:xfrm>
            <a:off x="7079910" y="998892"/>
            <a:ext cx="1681144" cy="206124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r>
              <a:rPr lang="es-ES" sz="1400" dirty="0">
                <a:solidFill>
                  <a:schemeClr val="tx1"/>
                </a:solidFill>
              </a:rPr>
              <a:t>Estíbaliz Palaci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59B9EE4-F134-9A26-7FAA-8A2F852CF701}"/>
              </a:ext>
            </a:extLst>
          </p:cNvPr>
          <p:cNvSpPr txBox="1"/>
          <p:nvPr/>
        </p:nvSpPr>
        <p:spPr>
          <a:xfrm>
            <a:off x="6061476" y="901217"/>
            <a:ext cx="133403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Responsable</a:t>
            </a:r>
            <a:r>
              <a:rPr lang="es-ES" b="1" dirty="0">
                <a:solidFill>
                  <a:schemeClr val="tx1"/>
                </a:solidFill>
              </a:rPr>
              <a:t>: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21010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146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SCLIENT" val="True"/>
  <p:tag name="TCCONTRASTACCENTS" val="4|5|6|7|8|9"/>
  <p:tag name="TCLIGHTACCENTS" val="4|5|6|7|8|9"/>
  <p:tag name="TEMPLATELASTEDITED" val="2022-06-24 10:26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12E3E"/>
      </a:accent1>
      <a:accent2>
        <a:srgbClr val="7C9599"/>
      </a:accent2>
      <a:accent3>
        <a:srgbClr val="BBC9DB"/>
      </a:accent3>
      <a:accent4>
        <a:srgbClr val="225E66"/>
      </a:accent4>
      <a:accent5>
        <a:srgbClr val="28FF52"/>
      </a:accent5>
      <a:accent6>
        <a:srgbClr val="A9FFBA"/>
      </a:accent6>
      <a:hlink>
        <a:srgbClr val="6D32FF"/>
      </a:hlink>
      <a:folHlink>
        <a:srgbClr val="6DE4FB"/>
      </a:folHlink>
    </a:clrScheme>
    <a:fontScheme name="Custom">
      <a:majorFont>
        <a:latin typeface="FT Base Book"/>
        <a:ea typeface=""/>
        <a:cs typeface=""/>
      </a:majorFont>
      <a:minorFont>
        <a:latin typeface="FT Base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12E3E"/>
        </a:accent1>
        <a:accent2>
          <a:srgbClr val="7C9599"/>
        </a:accent2>
        <a:accent3>
          <a:srgbClr val="BBC9DB"/>
        </a:accent3>
        <a:accent4>
          <a:srgbClr val="225E66"/>
        </a:accent4>
        <a:accent5>
          <a:srgbClr val="28FF52"/>
        </a:accent5>
        <a:accent6>
          <a:srgbClr val="A9FFBA"/>
        </a:accent6>
        <a:hlink>
          <a:srgbClr val="6D32FF"/>
        </a:hlink>
        <a:folHlink>
          <a:srgbClr val="6DE4FB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D32FF"/>
    </a:custClr>
    <a:custClr name="Custom Color7">
      <a:srgbClr val="6DE4FB"/>
    </a:custClr>
  </a:custClrLst>
  <a:extLst>
    <a:ext uri="{05A4C25C-085E-4340-85A3-A5531E510DB2}">
      <thm15:themeFamily xmlns:thm15="http://schemas.microsoft.com/office/thememl/2012/main" name="Template EDP 2022_English.potx" id="{66EA190E-9CBF-465B-BD7A-924F8D54FB91}" vid="{5DF9C2A3-3CDA-4ED3-9DBC-071BECB09F05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212E3E"/>
      </a:lt1>
      <a:dk2>
        <a:srgbClr val="000000"/>
      </a:dk2>
      <a:lt2>
        <a:srgbClr val="000000"/>
      </a:lt2>
      <a:accent1>
        <a:srgbClr val="FFFFFF"/>
      </a:accent1>
      <a:accent2>
        <a:srgbClr val="7C9599"/>
      </a:accent2>
      <a:accent3>
        <a:srgbClr val="BBC9DB"/>
      </a:accent3>
      <a:accent4>
        <a:srgbClr val="225E66"/>
      </a:accent4>
      <a:accent5>
        <a:srgbClr val="28FF52"/>
      </a:accent5>
      <a:accent6>
        <a:srgbClr val="A9FFBA"/>
      </a:accent6>
      <a:hlink>
        <a:srgbClr val="6D32FF"/>
      </a:hlink>
      <a:folHlink>
        <a:srgbClr val="6DE4FB"/>
      </a:folHlink>
    </a:clrScheme>
    <a:fontScheme name="Custom">
      <a:majorFont>
        <a:latin typeface="FT Base Book"/>
        <a:ea typeface=""/>
        <a:cs typeface=""/>
      </a:majorFont>
      <a:minorFont>
        <a:latin typeface="FT Base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212E3E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7C9599"/>
        </a:accent2>
        <a:accent3>
          <a:srgbClr val="BBC9DB"/>
        </a:accent3>
        <a:accent4>
          <a:srgbClr val="225E66"/>
        </a:accent4>
        <a:accent5>
          <a:srgbClr val="28FF52"/>
        </a:accent5>
        <a:accent6>
          <a:srgbClr val="A9FFBA"/>
        </a:accent6>
        <a:hlink>
          <a:srgbClr val="6D32FF"/>
        </a:hlink>
        <a:folHlink>
          <a:srgbClr val="6DE4FB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D32FF"/>
    </a:custClr>
    <a:custClr name="Custom Color7">
      <a:srgbClr val="6DE4FB"/>
    </a:custClr>
  </a:custClrLst>
  <a:extLst>
    <a:ext uri="{05A4C25C-085E-4340-85A3-A5531E510DB2}">
      <thm15:themeFamily xmlns:thm15="http://schemas.microsoft.com/office/thememl/2012/main" name="Template EDP 2022_English.potx" id="{66EA190E-9CBF-465B-BD7A-924F8D54FB91}" vid="{22BEEBA8-AF08-4A80-A384-7B036734F397}"/>
    </a:ext>
  </a:extLst>
</a:theme>
</file>

<file path=ppt/theme/theme3.xml><?xml version="1.0" encoding="utf-8"?>
<a:theme xmlns:a="http://schemas.openxmlformats.org/drawingml/2006/main" name="1_White">
  <a:themeElements>
    <a:clrScheme name="Custom 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12E3E"/>
      </a:accent1>
      <a:accent2>
        <a:srgbClr val="7C9599"/>
      </a:accent2>
      <a:accent3>
        <a:srgbClr val="BBC9DB"/>
      </a:accent3>
      <a:accent4>
        <a:srgbClr val="225E66"/>
      </a:accent4>
      <a:accent5>
        <a:srgbClr val="143E46"/>
      </a:accent5>
      <a:accent6>
        <a:srgbClr val="A8FFB9"/>
      </a:accent6>
      <a:hlink>
        <a:srgbClr val="6D32FF"/>
      </a:hlink>
      <a:folHlink>
        <a:srgbClr val="6DE4FB"/>
      </a:folHlink>
    </a:clrScheme>
    <a:fontScheme name="Custom">
      <a:majorFont>
        <a:latin typeface="FT Base Book"/>
        <a:ea typeface=""/>
        <a:cs typeface=""/>
      </a:majorFont>
      <a:minorFont>
        <a:latin typeface="FT Base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12E3E"/>
        </a:accent1>
        <a:accent2>
          <a:srgbClr val="7C9599"/>
        </a:accent2>
        <a:accent3>
          <a:srgbClr val="BBC9DB"/>
        </a:accent3>
        <a:accent4>
          <a:srgbClr val="225E66"/>
        </a:accent4>
        <a:accent5>
          <a:srgbClr val="28FF52"/>
        </a:accent5>
        <a:accent6>
          <a:srgbClr val="A9FFBA"/>
        </a:accent6>
        <a:hlink>
          <a:srgbClr val="6D32FF"/>
        </a:hlink>
        <a:folHlink>
          <a:srgbClr val="6DE4FB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D32FF"/>
    </a:custClr>
    <a:custClr name="Custom Color7">
      <a:srgbClr val="6DE4FB"/>
    </a:custClr>
  </a:custClrLst>
  <a:extLst>
    <a:ext uri="{05A4C25C-085E-4340-85A3-A5531E510DB2}">
      <thm15:themeFamily xmlns:thm15="http://schemas.microsoft.com/office/thememl/2012/main" name="Template EDP 2022_English.potx" id="{66EA190E-9CBF-465B-BD7A-924F8D54FB91}" vid="{5DF9C2A3-3CDA-4ED3-9DBC-071BECB09F05}"/>
    </a:ext>
  </a:extLst>
</a:theme>
</file>

<file path=ppt/theme/theme4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12E3E"/>
      </a:accent1>
      <a:accent2>
        <a:srgbClr val="7C9599"/>
      </a:accent2>
      <a:accent3>
        <a:srgbClr val="BBC9DB"/>
      </a:accent3>
      <a:accent4>
        <a:srgbClr val="225E66"/>
      </a:accent4>
      <a:accent5>
        <a:srgbClr val="28FF52"/>
      </a:accent5>
      <a:accent6>
        <a:srgbClr val="A9FFBA"/>
      </a:accent6>
      <a:hlink>
        <a:srgbClr val="6D32FF"/>
      </a:hlink>
      <a:folHlink>
        <a:srgbClr val="6DE4FB"/>
      </a:folHlink>
    </a:clrScheme>
    <a:fontScheme name="Custom">
      <a:majorFont>
        <a:latin typeface="FT Base Book"/>
        <a:ea typeface=""/>
        <a:cs typeface=""/>
      </a:majorFont>
      <a:minorFont>
        <a:latin typeface="FT Base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12E3E"/>
        </a:accent1>
        <a:accent2>
          <a:srgbClr val="7C9599"/>
        </a:accent2>
        <a:accent3>
          <a:srgbClr val="BBC9DB"/>
        </a:accent3>
        <a:accent4>
          <a:srgbClr val="225E66"/>
        </a:accent4>
        <a:accent5>
          <a:srgbClr val="28FF52"/>
        </a:accent5>
        <a:accent6>
          <a:srgbClr val="A9FFBA"/>
        </a:accent6>
        <a:hlink>
          <a:srgbClr val="6D32FF"/>
        </a:hlink>
        <a:folHlink>
          <a:srgbClr val="6DE4FB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D32FF"/>
    </a:custClr>
    <a:custClr name="Custom Color7">
      <a:srgbClr val="6DE4FB"/>
    </a:custClr>
  </a:custClrLst>
  <a:extLst>
    <a:ext uri="{05A4C25C-085E-4340-85A3-A5531E510DB2}">
      <thm15:themeFamily xmlns:thm15="http://schemas.microsoft.com/office/thememl/2012/main" name="Template EDP 2022_English.potx" id="{66EA190E-9CBF-465B-BD7A-924F8D54FB91}" vid="{5DF9C2A3-3CDA-4ED3-9DBC-071BECB09F05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EF0212B011AD4293736BCE0ACEAC51" ma:contentTypeVersion="4" ma:contentTypeDescription="Create a new document." ma:contentTypeScope="" ma:versionID="1a29ec7d3d166b1bf5b489eeb49d3480">
  <xsd:schema xmlns:xsd="http://www.w3.org/2001/XMLSchema" xmlns:xs="http://www.w3.org/2001/XMLSchema" xmlns:p="http://schemas.microsoft.com/office/2006/metadata/properties" xmlns:ns2="1a8bf72b-9b89-4108-902c-0f8e25be9413" targetNamespace="http://schemas.microsoft.com/office/2006/metadata/properties" ma:root="true" ma:fieldsID="3a8aed072591021bf8b72b87b18289ec" ns2:_="">
    <xsd:import namespace="1a8bf72b-9b89-4108-902c-0f8e25be94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8bf72b-9b89-4108-902c-0f8e25be94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D04502-09E4-4210-9398-CA36E9DB14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89F6C9-3F92-4CC0-8C52-F4EBD7DA55B0}">
  <ds:schemaRefs>
    <ds:schemaRef ds:uri="http://schemas.microsoft.com/office/2006/documentManagement/types"/>
    <ds:schemaRef ds:uri="http://schemas.microsoft.com/office/infopath/2007/PartnerControls"/>
    <ds:schemaRef ds:uri="1a8bf72b-9b89-4108-902c-0f8e25be9413"/>
    <ds:schemaRef ds:uri="http://www.w3.org/XML/1998/namespace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E66A1B1-2428-4533-85C7-551B5BB30661}">
  <ds:schemaRefs>
    <ds:schemaRef ds:uri="1a8bf72b-9b89-4108-902c-0f8e25be941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mplate EDP 2022_English</Template>
  <TotalTime>6074</TotalTime>
  <Words>482</Words>
  <Application>Microsoft Office PowerPoint</Application>
  <PresentationFormat>Panorámica</PresentationFormat>
  <Paragraphs>100</Paragraphs>
  <Slides>4</Slides>
  <Notes>4</Notes>
  <HiddenSlides>0</HiddenSlides>
  <MMClips>1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7" baseType="lpstr">
      <vt:lpstr>Arial</vt:lpstr>
      <vt:lpstr>Fira Sans Extra Condensed Medium</vt:lpstr>
      <vt:lpstr>FT Base Book</vt:lpstr>
      <vt:lpstr>FT Base Semibold</vt:lpstr>
      <vt:lpstr>Mulish</vt:lpstr>
      <vt:lpstr>Roboto</vt:lpstr>
      <vt:lpstr>Segoe UI</vt:lpstr>
      <vt:lpstr>Wingdings</vt:lpstr>
      <vt:lpstr>White</vt:lpstr>
      <vt:lpstr>Contrast</vt:lpstr>
      <vt:lpstr>1_White</vt:lpstr>
      <vt:lpstr>2_White</vt:lpstr>
      <vt:lpstr>Diapositiva de think-cell</vt:lpstr>
      <vt:lpstr>Presentación de PowerPoint</vt:lpstr>
      <vt:lpstr>Proyecto de Mejora de la Red de Distribución – EDP Redes España</vt:lpstr>
      <vt:lpstr>Proyecto de Mejora de la Red de Distribución – EDP Redes España</vt:lpstr>
      <vt:lpstr>Proyecto de Mejora de la Red de Distribución – EDP Redes Españ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JOÃO FRANCISCO GONÇALVES</dc:creator>
  <cp:keywords/>
  <dc:description/>
  <cp:lastModifiedBy>ANTONIO GONZALEZ DIEGO</cp:lastModifiedBy>
  <cp:revision>5</cp:revision>
  <cp:lastPrinted>2023-06-19T06:54:24Z</cp:lastPrinted>
  <dcterms:created xsi:type="dcterms:W3CDTF">2022-06-24T15:16:23Z</dcterms:created>
  <dcterms:modified xsi:type="dcterms:W3CDTF">2025-08-28T10:06:4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2-06-24 10:26 </vt:lpwstr>
  </property>
  <property fmtid="{D5CDD505-2E9C-101B-9397-08002B2CF9AE}" pid="3" name="MSIP_Label_9811530c-902c-4b75-8616-d6c82cd1332a_Enabled">
    <vt:lpwstr>true</vt:lpwstr>
  </property>
  <property fmtid="{D5CDD505-2E9C-101B-9397-08002B2CF9AE}" pid="4" name="MSIP_Label_9811530c-902c-4b75-8616-d6c82cd1332a_SetDate">
    <vt:lpwstr>2022-06-24T15:17:17Z</vt:lpwstr>
  </property>
  <property fmtid="{D5CDD505-2E9C-101B-9397-08002B2CF9AE}" pid="5" name="MSIP_Label_9811530c-902c-4b75-8616-d6c82cd1332a_Method">
    <vt:lpwstr>Standard</vt:lpwstr>
  </property>
  <property fmtid="{D5CDD505-2E9C-101B-9397-08002B2CF9AE}" pid="6" name="MSIP_Label_9811530c-902c-4b75-8616-d6c82cd1332a_Name">
    <vt:lpwstr>9811530c-902c-4b75-8616-d6c82cd1332a</vt:lpwstr>
  </property>
  <property fmtid="{D5CDD505-2E9C-101B-9397-08002B2CF9AE}" pid="7" name="MSIP_Label_9811530c-902c-4b75-8616-d6c82cd1332a_SiteId">
    <vt:lpwstr>bf86fbdb-f8c2-440e-923c-05a60dc2bc9b</vt:lpwstr>
  </property>
  <property fmtid="{D5CDD505-2E9C-101B-9397-08002B2CF9AE}" pid="8" name="MSIP_Label_9811530c-902c-4b75-8616-d6c82cd1332a_ActionId">
    <vt:lpwstr>481c186f-ec06-4dbd-ba55-a25bf3ac7738</vt:lpwstr>
  </property>
  <property fmtid="{D5CDD505-2E9C-101B-9397-08002B2CF9AE}" pid="9" name="MSIP_Label_9811530c-902c-4b75-8616-d6c82cd1332a_ContentBits">
    <vt:lpwstr>0</vt:lpwstr>
  </property>
  <property fmtid="{D5CDD505-2E9C-101B-9397-08002B2CF9AE}" pid="10" name="MSIP_Label_d77a17ce-3e38-4b5c-a350-ae710d0d25a9_Enabled">
    <vt:lpwstr>true</vt:lpwstr>
  </property>
  <property fmtid="{D5CDD505-2E9C-101B-9397-08002B2CF9AE}" pid="11" name="MSIP_Label_d77a17ce-3e38-4b5c-a350-ae710d0d25a9_SetDate">
    <vt:lpwstr>2022-08-01T13:45:32Z</vt:lpwstr>
  </property>
  <property fmtid="{D5CDD505-2E9C-101B-9397-08002B2CF9AE}" pid="12" name="MSIP_Label_d77a17ce-3e38-4b5c-a350-ae710d0d25a9_Method">
    <vt:lpwstr>Standard</vt:lpwstr>
  </property>
  <property fmtid="{D5CDD505-2E9C-101B-9397-08002B2CF9AE}" pid="13" name="MSIP_Label_d77a17ce-3e38-4b5c-a350-ae710d0d25a9_Name">
    <vt:lpwstr>Interna</vt:lpwstr>
  </property>
  <property fmtid="{D5CDD505-2E9C-101B-9397-08002B2CF9AE}" pid="14" name="MSIP_Label_d77a17ce-3e38-4b5c-a350-ae710d0d25a9_SiteId">
    <vt:lpwstr>46c289b2-c2a4-457e-89b8-cf1683fca88c</vt:lpwstr>
  </property>
  <property fmtid="{D5CDD505-2E9C-101B-9397-08002B2CF9AE}" pid="15" name="MSIP_Label_d77a17ce-3e38-4b5c-a350-ae710d0d25a9_ActionId">
    <vt:lpwstr>8385f4f5-1cb5-4c31-b465-72a97a219a9a</vt:lpwstr>
  </property>
  <property fmtid="{D5CDD505-2E9C-101B-9397-08002B2CF9AE}" pid="16" name="MSIP_Label_d77a17ce-3e38-4b5c-a350-ae710d0d25a9_ContentBits">
    <vt:lpwstr>0</vt:lpwstr>
  </property>
  <property fmtid="{D5CDD505-2E9C-101B-9397-08002B2CF9AE}" pid="17" name="ContentTypeId">
    <vt:lpwstr>0x01010082EF0212B011AD4293736BCE0ACEAC51</vt:lpwstr>
  </property>
  <property fmtid="{D5CDD505-2E9C-101B-9397-08002B2CF9AE}" pid="18" name="MediaServiceImageTags">
    <vt:lpwstr/>
  </property>
  <property fmtid="{D5CDD505-2E9C-101B-9397-08002B2CF9AE}" pid="19" name="MSIP_Label_ea60d57e-af5b-4752-ac57-3e4f28ca11dc_Enabled">
    <vt:lpwstr>true</vt:lpwstr>
  </property>
  <property fmtid="{D5CDD505-2E9C-101B-9397-08002B2CF9AE}" pid="20" name="MSIP_Label_ea60d57e-af5b-4752-ac57-3e4f28ca11dc_SetDate">
    <vt:lpwstr>2022-10-05T14:20:15Z</vt:lpwstr>
  </property>
  <property fmtid="{D5CDD505-2E9C-101B-9397-08002B2CF9AE}" pid="21" name="MSIP_Label_ea60d57e-af5b-4752-ac57-3e4f28ca11dc_Method">
    <vt:lpwstr>Standard</vt:lpwstr>
  </property>
  <property fmtid="{D5CDD505-2E9C-101B-9397-08002B2CF9AE}" pid="22" name="MSIP_Label_ea60d57e-af5b-4752-ac57-3e4f28ca11dc_Name">
    <vt:lpwstr>ea60d57e-af5b-4752-ac57-3e4f28ca11dc</vt:lpwstr>
  </property>
  <property fmtid="{D5CDD505-2E9C-101B-9397-08002B2CF9AE}" pid="23" name="MSIP_Label_ea60d57e-af5b-4752-ac57-3e4f28ca11dc_SiteId">
    <vt:lpwstr>36da45f1-dd2c-4d1f-af13-5abe46b99921</vt:lpwstr>
  </property>
  <property fmtid="{D5CDD505-2E9C-101B-9397-08002B2CF9AE}" pid="24" name="MSIP_Label_ea60d57e-af5b-4752-ac57-3e4f28ca11dc_ActionId">
    <vt:lpwstr>38104955-62c8-4a42-b9ee-7cef2427bf63</vt:lpwstr>
  </property>
  <property fmtid="{D5CDD505-2E9C-101B-9397-08002B2CF9AE}" pid="25" name="MSIP_Label_ea60d57e-af5b-4752-ac57-3e4f28ca11dc_ContentBits">
    <vt:lpwstr>0</vt:lpwstr>
  </property>
  <property fmtid="{D5CDD505-2E9C-101B-9397-08002B2CF9AE}" pid="26" name="Order">
    <vt:lpwstr>32600.0000000000</vt:lpwstr>
  </property>
  <property fmtid="{D5CDD505-2E9C-101B-9397-08002B2CF9AE}" pid="27" name="xd_ProgID">
    <vt:lpwstr/>
  </property>
  <property fmtid="{D5CDD505-2E9C-101B-9397-08002B2CF9AE}" pid="28" name="ComplianceAssetId">
    <vt:lpwstr/>
  </property>
  <property fmtid="{D5CDD505-2E9C-101B-9397-08002B2CF9AE}" pid="29" name="TemplateUrl">
    <vt:lpwstr/>
  </property>
  <property fmtid="{D5CDD505-2E9C-101B-9397-08002B2CF9AE}" pid="30" name="_ExtendedDescription">
    <vt:lpwstr/>
  </property>
  <property fmtid="{D5CDD505-2E9C-101B-9397-08002B2CF9AE}" pid="31" name="xd_Signature">
    <vt:lpwstr/>
  </property>
  <property fmtid="{D5CDD505-2E9C-101B-9397-08002B2CF9AE}" pid="32" name="TriggerFlowInfo">
    <vt:lpwstr/>
  </property>
</Properties>
</file>